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autoCompressPictures="0">
  <p:sldMasterIdLst>
    <p:sldMasterId id="2147483920" r:id="rId4"/>
  </p:sldMasterIdLst>
  <p:notesMasterIdLst>
    <p:notesMasterId r:id="rId8"/>
  </p:notesMasterIdLst>
  <p:handoutMasterIdLst>
    <p:handoutMasterId r:id="rId9"/>
  </p:handoutMasterIdLst>
  <p:sldIdLst>
    <p:sldId id="387" r:id="rId5"/>
    <p:sldId id="388" r:id="rId6"/>
    <p:sldId id="383" r:id="rId7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="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r:id="rId53" roundtripDataSignature="AMtx7mh3YP3xexYcFoahXa2ehi0H5V4Za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E8ED548-FF7C-27E2-06B8-845347C3E2D4}" name="RINK Daniela (ENEST)" initials="R(" userId="S::daniela.rink@ec.europa.eu::06a3407d-7808-458f-8077-c901dcbaf594" providerId="AD"/>
  <p188:author id="{850A86CA-1BE3-563E-B309-5612DAD09997}" name="BUENO BARRIGA Maria Del Carmen (ENEST)" initials="MB" userId="S::Maria-Del-Carmen.BUENO-BARRIGA@ec.europa.eu::746f5703-989e-4891-a569-9520b9f0cc5b" providerId="AD"/>
  <p188:author id="{C05383F3-1795-6C0B-5859-22F85252F5B1}" name="LAMBRECHT Regine (ESTAT-EXT)" initials="RL" userId="S::Regine.LAMBRECHT@ext.ec.europa.eu::1a5166bf-0d9b-4429-b96c-64f3c887b7a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3399"/>
    <a:srgbClr val="000000"/>
    <a:srgbClr val="0D0D0D"/>
    <a:srgbClr val="FFD34E"/>
    <a:srgbClr val="00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1" d="100"/>
          <a:sy n="101" d="100"/>
        </p:scale>
        <p:origin x="87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55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54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53" Type="http://customschemas.google.com/relationships/presentationmetadata" Target="metadata"/><Relationship Id="rId58" Type="http://schemas.microsoft.com/office/2018/10/relationships/authors" Target="authors.xml"/><Relationship Id="rId5" Type="http://schemas.openxmlformats.org/officeDocument/2006/relationships/slide" Target="slides/slide1.xml"/><Relationship Id="rId57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56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64D34D8-E3B4-F069-6ADD-F8D442E609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2191E5-897D-1F21-6B64-C79FF3AD2E9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7E606C-77CD-45C1-9571-DE74CA837D88}" type="datetimeFigureOut">
              <a:rPr lang="en-IE" smtClean="0"/>
              <a:t>16/06/2026</a:t>
            </a:fld>
            <a:endParaRPr lang="en-I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903FA3-5DC7-AAE3-B405-7184FD6B12E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454CF8-DBD9-2EAE-C757-6C20B658552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A08B9C-ED77-41BB-BC53-D69EC8827C71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2153203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page option 1">
    <p:bg>
      <p:bgPr>
        <a:solidFill>
          <a:srgbClr val="0033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675400-3E4A-4805-76D4-89E3DBA229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317486"/>
            <a:ext cx="2743200" cy="172523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algn="l"/>
            <a:r>
              <a:rPr lang="fr-BE"/>
              <a:t>DD/MM/YYYY</a:t>
            </a:r>
            <a:endParaRPr lang="en-IE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B290A50-B43D-A2B6-515F-75425256AC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40714"/>
            <a:ext cx="10515600" cy="1020337"/>
          </a:xfrm>
          <a:noFill/>
        </p:spPr>
        <p:txBody>
          <a:bodyPr>
            <a:noAutofit/>
          </a:bodyPr>
          <a:lstStyle>
            <a:lvl1pPr>
              <a:defRPr sz="8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 title</a:t>
            </a:r>
            <a:endParaRPr lang="en-IE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69D02D42-BA7D-84CC-873F-80F08362B3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4219575"/>
            <a:ext cx="4929188" cy="61118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600E4EF-7051-9AAC-2C78-0958FBC514BC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838199" y="5243158"/>
            <a:ext cx="3176847" cy="304616"/>
          </a:xfrm>
          <a:solidFill>
            <a:schemeClr val="accent5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>
            <a:noAutofit/>
          </a:bodyPr>
          <a:lstStyle>
            <a:lvl1pPr marL="0" indent="0">
              <a:buNone/>
              <a:defRPr sz="1600" b="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 descr="European Commission">
            <a:extLst>
              <a:ext uri="{FF2B5EF4-FFF2-40B4-BE49-F238E27FC236}">
                <a16:creationId xmlns:a16="http://schemas.microsoft.com/office/drawing/2014/main" id="{85D80D5D-B11B-B8B1-1D33-81E7377D595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3383" y="5738784"/>
            <a:ext cx="2544024" cy="94101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75015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wo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855706"/>
            <a:ext cx="5019675" cy="3271102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F39DED1-43B7-A54B-D3D7-54792E535D26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334125" y="1855706"/>
            <a:ext cx="5019675" cy="3271102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9416748-3994-A02A-B7BD-AC8272883D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7" name="Footer Placeholder 8">
            <a:extLst>
              <a:ext uri="{FF2B5EF4-FFF2-40B4-BE49-F238E27FC236}">
                <a16:creationId xmlns:a16="http://schemas.microsoft.com/office/drawing/2014/main" id="{6A56761B-AC86-49AF-4B3B-2CCCDB7A47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8856910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wo column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855706"/>
            <a:ext cx="5019675" cy="3271102"/>
          </a:xfrm>
          <a:solidFill>
            <a:schemeClr val="tx2"/>
          </a:solidFill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C0E4D59-AF6A-8993-094A-5A4FED57EA37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334125" y="1855706"/>
            <a:ext cx="5019675" cy="3271102"/>
          </a:xfrm>
          <a:solidFill>
            <a:schemeClr val="tx2"/>
          </a:solidFill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C3588F2-1E00-50BC-0820-CB663EE971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7" name="Footer Placeholder 8">
            <a:extLst>
              <a:ext uri="{FF2B5EF4-FFF2-40B4-BE49-F238E27FC236}">
                <a16:creationId xmlns:a16="http://schemas.microsoft.com/office/drawing/2014/main" id="{7575C568-2951-1529-11F7-C12F1B067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594545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wo column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0920A60-FD35-93DC-D952-15BAEF0C0BB5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838200" y="2029022"/>
            <a:ext cx="5019674" cy="460375"/>
          </a:xfrm>
          <a:solidFill>
            <a:schemeClr val="tx2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2724150"/>
            <a:ext cx="5019675" cy="2536008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6B8E071-31DF-2C06-04A9-3BC538CDA6CD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334126" y="2029022"/>
            <a:ext cx="5019674" cy="460375"/>
          </a:xfrm>
          <a:solidFill>
            <a:schemeClr val="tx2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18A63BF-772E-9151-C37F-6751BC1781DA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334125" y="2724150"/>
            <a:ext cx="5019675" cy="2536008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0AA9BB-29EC-79EA-02CA-8452ADF649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1BA1A05-4F7E-D9F9-D094-9C9394F846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872981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wo columns with subtitl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B8270BF-EE76-A46D-95E0-FB617042099B}"/>
              </a:ext>
            </a:extLst>
          </p:cNvPr>
          <p:cNvSpPr>
            <a:spLocks/>
          </p:cNvSpPr>
          <p:nvPr/>
        </p:nvSpPr>
        <p:spPr>
          <a:xfrm>
            <a:off x="0" y="1487978"/>
            <a:ext cx="12192000" cy="53700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>
              <a:solidFill>
                <a:schemeClr val="tx2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0920A60-FD35-93DC-D952-15BAEF0C0BB5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838200" y="2029022"/>
            <a:ext cx="5019674" cy="460375"/>
          </a:xfrm>
          <a:solidFill>
            <a:schemeClr val="accent5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2724150"/>
            <a:ext cx="5019675" cy="2536008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6B8E071-31DF-2C06-04A9-3BC538CDA6CD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334126" y="2029022"/>
            <a:ext cx="5019674" cy="460375"/>
          </a:xfrm>
          <a:solidFill>
            <a:schemeClr val="accent5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18A63BF-772E-9151-C37F-6751BC1781DA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334125" y="2724150"/>
            <a:ext cx="5019675" cy="2536008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7262511B-BA2E-7984-66D6-B5152DA09D7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11" name="Picture 10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DB557BE9-B8DC-E601-A0F8-16CD84F918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EFAC7B2-2467-A72A-9F8B-CBD0FB0D8C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12" name="Footer Placeholder 8">
            <a:extLst>
              <a:ext uri="{FF2B5EF4-FFF2-40B4-BE49-F238E27FC236}">
                <a16:creationId xmlns:a16="http://schemas.microsoft.com/office/drawing/2014/main" id="{D838E642-5C12-54DE-94A0-3EDA044A54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2236665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wo columns colure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ECCFB38-4E5F-126B-A212-3CBD911F98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1487978"/>
            <a:ext cx="12192000" cy="53700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587083"/>
            <a:ext cx="4670502" cy="2899317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36259F-C7F8-D963-3DFD-92239B4D3F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587083"/>
            <a:ext cx="5181600" cy="2899317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02BBC44B-821F-21ED-8464-03E52169817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9" name="Picture 8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22B46DA4-CDDE-5119-2E5E-AD549E681C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A321162-C08B-5D98-4E1F-FE50C321D8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10" name="Footer Placeholder 8">
            <a:extLst>
              <a:ext uri="{FF2B5EF4-FFF2-40B4-BE49-F238E27FC236}">
                <a16:creationId xmlns:a16="http://schemas.microsoft.com/office/drawing/2014/main" id="{75400899-1203-EA20-07C6-EFFB182F41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8167603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hree column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989056"/>
            <a:ext cx="3055070" cy="3299381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1A8786C-FCBD-3783-706E-0CBF5B0343E3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29467" y="1989056"/>
            <a:ext cx="3056400" cy="3299381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4DC31AC-D39C-A8A3-ED76-D3399E224DE3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8297400" y="1989056"/>
            <a:ext cx="3056400" cy="3299381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D635DEE-A882-2487-2337-D6BB66A7A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6" name="Footer Placeholder 8">
            <a:extLst>
              <a:ext uri="{FF2B5EF4-FFF2-40B4-BE49-F238E27FC236}">
                <a16:creationId xmlns:a16="http://schemas.microsoft.com/office/drawing/2014/main" id="{440D1373-D055-D2EC-8197-171DDBDADD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1017306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ody text 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989056"/>
            <a:ext cx="3055070" cy="3299381"/>
          </a:xfrm>
        </p:spPr>
        <p:txBody>
          <a:bodyPr>
            <a:noAutofit/>
          </a:bodyPr>
          <a:lstStyle>
            <a:lvl1pPr marL="0" indent="0">
              <a:buClr>
                <a:schemeClr val="tx2"/>
              </a:buClr>
              <a:buSzPct val="150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AFF39438-760E-ED2B-8243-319A5EF04778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568465" y="1989055"/>
            <a:ext cx="3055070" cy="3299381"/>
          </a:xfrm>
        </p:spPr>
        <p:txBody>
          <a:bodyPr>
            <a:noAutofit/>
          </a:bodyPr>
          <a:lstStyle>
            <a:lvl1pPr marL="0" indent="0">
              <a:buClr>
                <a:schemeClr val="tx2"/>
              </a:buClr>
              <a:buSzPct val="150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FA7DAD-79FF-9241-7523-B9F28613FB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2284C9D-0459-8584-A6B3-FFE83837141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8298730" y="1989055"/>
            <a:ext cx="3055070" cy="3299381"/>
          </a:xfrm>
        </p:spPr>
        <p:txBody>
          <a:bodyPr>
            <a:noAutofit/>
          </a:bodyPr>
          <a:lstStyle>
            <a:lvl1pPr marL="0" indent="0">
              <a:buClr>
                <a:schemeClr val="tx2"/>
              </a:buClr>
              <a:buSzPct val="150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9454014D-FC40-DABB-5F97-62E05A376F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8724403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hree column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9E2655-E9DF-246B-F4FD-D62B2B37A4B3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838200" y="2029022"/>
            <a:ext cx="3045644" cy="460375"/>
          </a:xfrm>
          <a:solidFill>
            <a:schemeClr val="tx2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1C7A71E-B4AA-350C-C619-6CD926C5FB0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690199"/>
            <a:ext cx="3045644" cy="259823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B64B145-4048-55E1-B2E9-6B27CC0E5870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586925" y="2010169"/>
            <a:ext cx="3132055" cy="460375"/>
          </a:xfrm>
          <a:solidFill>
            <a:schemeClr val="tx2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56044468-6F92-BCD9-357B-E33281665606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586926" y="2690199"/>
            <a:ext cx="3132055" cy="259823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E2839C1-28EB-C84A-8FE0-1EB86DE1BDEE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422064" y="2029022"/>
            <a:ext cx="3045644" cy="460375"/>
          </a:xfrm>
          <a:solidFill>
            <a:schemeClr val="tx2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1E8E11D-2B2A-C5C5-EFFC-16D798510576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8422064" y="2690199"/>
            <a:ext cx="3045644" cy="2598238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2761D88-1D18-A805-8D96-5BEBFEFE21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C4BB2291-2147-D1C0-AB46-6D3DE9C2DA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7201717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text and image coloured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4F9DE773-46A1-EE6A-D3DF-FC96DCA4C7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47851"/>
            <a:ext cx="4670502" cy="3638549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6CC71E5-FBEB-2751-9FF1-D81B32C5D66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50002" y="1825625"/>
            <a:ext cx="5003800" cy="3638550"/>
          </a:xfrm>
          <a:solidFill>
            <a:schemeClr val="tx2"/>
          </a:solidFill>
          <a:ln w="76200">
            <a:noFill/>
          </a:ln>
          <a:effectLst/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pic>
        <p:nvPicPr>
          <p:cNvPr id="6" name="Picture 5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93834467-B58A-08E2-AA0A-DB1D50F360B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5" name="Picture 4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570F0233-3DB4-DD9F-5F0F-396910702D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4DF5A1-9706-DCB7-1601-51D0F26AE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EFB7DFF0-1C84-8F6C-0408-2B15151261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3256195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text and image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9BD169-F6A4-2E23-F2D4-B7DED1FC99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47851"/>
            <a:ext cx="4670502" cy="3638549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6CC71E5-FBEB-2751-9FF1-D81B32C5D66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50002" y="1825625"/>
            <a:ext cx="5003800" cy="3638550"/>
          </a:xfrm>
          <a:solidFill>
            <a:schemeClr val="tx2"/>
          </a:solidFill>
          <a:ln w="76200">
            <a:noFill/>
          </a:ln>
          <a:effectLst/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0C2FD4-3B80-FE70-83EA-C9956AF116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7" name="Footer Placeholder 8">
            <a:extLst>
              <a:ext uri="{FF2B5EF4-FFF2-40B4-BE49-F238E27FC236}">
                <a16:creationId xmlns:a16="http://schemas.microsoft.com/office/drawing/2014/main" id="{B7624A9B-CC72-EEB9-2AE2-FDB9629A09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0859237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pag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75;p31">
            <a:extLst>
              <a:ext uri="{FF2B5EF4-FFF2-40B4-BE49-F238E27FC236}">
                <a16:creationId xmlns:a16="http://schemas.microsoft.com/office/drawing/2014/main" id="{D3CADB7B-43FA-62FF-A4B3-5E073752114C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981200"/>
            <a:ext cx="12192000" cy="487679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10E61F-C8F9-4190-1EE4-9217CF0F1D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94518"/>
            <a:ext cx="10515600" cy="1068400"/>
          </a:xfrm>
          <a:solidFill>
            <a:schemeClr val="bg1"/>
          </a:solidFill>
        </p:spPr>
        <p:txBody>
          <a:bodyPr lIns="144000" tIns="144000" rIns="144000" bIns="144000" anchor="b">
            <a:noAutofit/>
          </a:bodyPr>
          <a:lstStyle>
            <a:lvl1pPr>
              <a:defRPr sz="8800"/>
            </a:lvl1pPr>
          </a:lstStyle>
          <a:p>
            <a:r>
              <a:rPr lang="en-US"/>
              <a:t>Click to add a title</a:t>
            </a:r>
            <a:endParaRPr lang="en-IE"/>
          </a:p>
        </p:txBody>
      </p:sp>
      <p:sp>
        <p:nvSpPr>
          <p:cNvPr id="6" name="Content Placeholder 14">
            <a:extLst>
              <a:ext uri="{FF2B5EF4-FFF2-40B4-BE49-F238E27FC236}">
                <a16:creationId xmlns:a16="http://schemas.microsoft.com/office/drawing/2014/main" id="{F041A8C2-E23F-3F85-E8AE-2AEEB496419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2942564"/>
            <a:ext cx="4929188" cy="611188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A red dotted line with a couple of people&#10;&#10;Description automatically generated with medium confidence" hidden="1">
            <a:extLst>
              <a:ext uri="{FF2B5EF4-FFF2-40B4-BE49-F238E27FC236}">
                <a16:creationId xmlns:a16="http://schemas.microsoft.com/office/drawing/2014/main" id="{95398073-E69B-2867-360F-504F7007FD0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 descr="A red dotted line with a couple of people&#10;&#10;Description automatically generated with medium confidence" hidden="1">
            <a:extLst>
              <a:ext uri="{FF2B5EF4-FFF2-40B4-BE49-F238E27FC236}">
                <a16:creationId xmlns:a16="http://schemas.microsoft.com/office/drawing/2014/main" id="{6437CF6F-3079-899D-F025-61C0BCD596A4}"/>
              </a:ext>
            </a:extLst>
          </p:cNvPr>
          <p:cNvPicPr/>
          <p:nvPr userDrawn="1"/>
        </p:nvPicPr>
        <p:blipFill>
          <a:blip r:embed="rId2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 descr="European Commission">
            <a:extLst>
              <a:ext uri="{FF2B5EF4-FFF2-40B4-BE49-F238E27FC236}">
                <a16:creationId xmlns:a16="http://schemas.microsoft.com/office/drawing/2014/main" id="{97034CB8-2B4A-3519-77AF-1512D68F2797}"/>
              </a:ext>
            </a:extLst>
          </p:cNvPr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0664" y="174518"/>
            <a:ext cx="2544024" cy="9158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395979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text and 4 images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91;p33">
            <a:extLst>
              <a:ext uri="{FF2B5EF4-FFF2-40B4-BE49-F238E27FC236}">
                <a16:creationId xmlns:a16="http://schemas.microsoft.com/office/drawing/2014/main" id="{A9F38C94-2545-ED67-4909-C5A475FCF803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3538332" y="2197664"/>
            <a:ext cx="2461591" cy="163815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Google Shape;95;p33">
            <a:extLst>
              <a:ext uri="{FF2B5EF4-FFF2-40B4-BE49-F238E27FC236}">
                <a16:creationId xmlns:a16="http://schemas.microsoft.com/office/drawing/2014/main" id="{45EC68E1-18F5-04CB-00B3-F8948F3B4F18}"/>
              </a:ext>
            </a:extLst>
          </p:cNvPr>
          <p:cNvSpPr>
            <a:spLocks noGrp="1"/>
          </p:cNvSpPr>
          <p:nvPr>
            <p:ph type="pic" idx="5"/>
          </p:nvPr>
        </p:nvSpPr>
        <p:spPr>
          <a:xfrm>
            <a:off x="6161035" y="2197663"/>
            <a:ext cx="2461593" cy="163815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0A4763F-1C9A-B628-1609-DA5C75C90F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02758" y="2197100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Google Shape;91;p33">
            <a:extLst>
              <a:ext uri="{FF2B5EF4-FFF2-40B4-BE49-F238E27FC236}">
                <a16:creationId xmlns:a16="http://schemas.microsoft.com/office/drawing/2014/main" id="{0AB5F208-A96D-CEBC-874F-7B719FD86FEB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3538332" y="4031391"/>
            <a:ext cx="2461591" cy="163815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7" name="Google Shape;95;p33">
            <a:extLst>
              <a:ext uri="{FF2B5EF4-FFF2-40B4-BE49-F238E27FC236}">
                <a16:creationId xmlns:a16="http://schemas.microsoft.com/office/drawing/2014/main" id="{0AC28D44-5B34-89F9-D8AB-62E99E380E36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6161035" y="4031390"/>
            <a:ext cx="2461593" cy="163815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14095A4F-385F-CF4A-5E10-E3628D85F6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02758" y="4030827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092A6C90-A6CE-C107-4350-7906F5FDD7F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39" y="2197100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FA45C4F8-1803-A72B-10DF-5927ABF6E40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839" y="4030827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F9C7B51-3F16-5ABF-3BE2-AA17BD10DB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7" name="Footer Placeholder 8">
            <a:extLst>
              <a:ext uri="{FF2B5EF4-FFF2-40B4-BE49-F238E27FC236}">
                <a16:creationId xmlns:a16="http://schemas.microsoft.com/office/drawing/2014/main" id="{F256C38A-CD2B-89BF-A117-9ED92151C6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5047276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big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"/>
            <a:ext cx="5388429" cy="6857999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6457" y="589047"/>
            <a:ext cx="7587343" cy="71724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03EC882-6BB1-D514-72D9-A7D3FAE8C698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766457" y="1895333"/>
            <a:ext cx="7587342" cy="3845577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8">
            <a:extLst>
              <a:ext uri="{FF2B5EF4-FFF2-40B4-BE49-F238E27FC236}">
                <a16:creationId xmlns:a16="http://schemas.microsoft.com/office/drawing/2014/main" id="{E7AFEC3F-1C21-3132-B967-9F0F25A560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2728" y="62689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4159177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big photo coloured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"/>
            <a:ext cx="5388429" cy="6857999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2F83483-47D9-4712-A8D7-6CBF6177582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125185" y="6162533"/>
            <a:ext cx="6090558" cy="390667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>
              <a:buNone/>
              <a:defRPr sz="1800" i="1"/>
            </a:lvl1pPr>
          </a:lstStyle>
          <a:p>
            <a:pPr lvl="0"/>
            <a:r>
              <a:rPr lang="en-US"/>
              <a:t>Click to edit Master text styles (caption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5743" y="589047"/>
            <a:ext cx="5138057" cy="717240"/>
          </a:xfrm>
          <a:solidFill>
            <a:schemeClr val="bg1"/>
          </a:solidFill>
        </p:spPr>
        <p:txBody>
          <a:bodyPr lIns="72000" tIns="72000" rIns="72000" bIns="72000">
            <a:noAutofit/>
          </a:bodyPr>
          <a:lstStyle>
            <a:lvl1pPr>
              <a:defRPr sz="4400">
                <a:solidFill>
                  <a:schemeClr val="bg1"/>
                </a:solidFill>
                <a:highlight>
                  <a:srgbClr val="003399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03EC882-6BB1-D514-72D9-A7D3FAE8C698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215743" y="1895333"/>
            <a:ext cx="5138056" cy="3845577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>
              <a:buClr>
                <a:schemeClr val="tx2"/>
              </a:buClr>
              <a:buSzPct val="150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7724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big photo coloured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2F035CA-6728-7746-C9FC-81382094BF06}"/>
              </a:ext>
            </a:extLst>
          </p:cNvPr>
          <p:cNvSpPr/>
          <p:nvPr/>
        </p:nvSpPr>
        <p:spPr>
          <a:xfrm>
            <a:off x="5388429" y="0"/>
            <a:ext cx="6803571" cy="6857999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"/>
            <a:ext cx="5388429" cy="6857999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DE701F0-97E6-7792-DA18-AD6E08BC874A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125185" y="6162533"/>
            <a:ext cx="6090558" cy="390667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>
              <a:buNone/>
              <a:defRPr sz="1800" i="1"/>
            </a:lvl1pPr>
          </a:lstStyle>
          <a:p>
            <a:pPr lvl="0"/>
            <a:r>
              <a:rPr lang="en-US"/>
              <a:t>Click to edit Master text styles (caption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5743" y="589046"/>
            <a:ext cx="5138057" cy="1000267"/>
          </a:xfrm>
          <a:noFill/>
        </p:spPr>
        <p:txBody>
          <a:bodyPr lIns="72000" tIns="72000" rIns="72000" bIns="72000">
            <a:noAutofit/>
          </a:bodyPr>
          <a:lstStyle>
            <a:lvl1pPr>
              <a:defRPr sz="4400">
                <a:solidFill>
                  <a:schemeClr val="tx2"/>
                </a:solidFill>
                <a:highlight>
                  <a:srgbClr val="FFD34E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03EC882-6BB1-D514-72D9-A7D3FAE8C698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215743" y="1895333"/>
            <a:ext cx="5138056" cy="3845577"/>
          </a:xfrm>
          <a:noFill/>
        </p:spPr>
        <p:txBody>
          <a:bodyPr>
            <a:noAutofit/>
          </a:bodyPr>
          <a:lstStyle>
            <a:lvl1pPr marL="0" indent="0">
              <a:buClr>
                <a:schemeClr val="bg1"/>
              </a:buClr>
              <a:buSzPct val="150000"/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F07C9B7E-A9F7-E74E-8B7F-3BB737CA398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9" name="Picture 8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B7786630-3DC2-B1C3-65DD-397E446197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2073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in 2 columns and big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7773642" y="0"/>
            <a:ext cx="4418358" cy="6857999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8936A4-CDCB-C345-F71F-92F2A35F2A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61067"/>
            <a:ext cx="7915275" cy="71724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FE590DB-1C31-60F0-D6F8-A1706796115D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8200" y="1833753"/>
            <a:ext cx="2974761" cy="363855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94C5D68-6EAE-4A7A-7185-241C6CF3B9B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305921" y="1833753"/>
            <a:ext cx="2974761" cy="363855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 descr="A blue flag with yellow stars&#10;&#10;Description automatically generated">
            <a:extLst>
              <a:ext uri="{FF2B5EF4-FFF2-40B4-BE49-F238E27FC236}">
                <a16:creationId xmlns:a16="http://schemas.microsoft.com/office/drawing/2014/main" id="{901A7271-B7CF-4C49-1423-D7CA7ECEF27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pic>
        <p:nvPicPr>
          <p:cNvPr id="5" name="Picture 4" descr="A blue flag with yellow stars&#10;&#10;Description automatically generated">
            <a:extLst>
              <a:ext uri="{FF2B5EF4-FFF2-40B4-BE49-F238E27FC236}">
                <a16:creationId xmlns:a16="http://schemas.microsoft.com/office/drawing/2014/main" id="{C0DCEE1B-27AC-37B6-7683-71F823E43E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397D846-EECB-7092-C88A-21E2250BDE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296A4E82-A1A1-EFC7-7768-E6DDC71C43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2559539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hotos and three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41187F8-6993-4E2B-6622-C25429339D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E" sz="4400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72591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3FA7EE-FB05-1C4E-138A-F50BCF45EEC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73125" y="4591050"/>
            <a:ext cx="3008313" cy="1103313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Google Shape;72;p30">
            <a:extLst>
              <a:ext uri="{FF2B5EF4-FFF2-40B4-BE49-F238E27FC236}">
                <a16:creationId xmlns:a16="http://schemas.microsoft.com/office/drawing/2014/main" id="{463AB235-233D-D0DB-E16C-CB9366541FFD}"/>
              </a:ext>
            </a:extLst>
          </p:cNvPr>
          <p:cNvSpPr>
            <a:spLocks noGrp="1"/>
          </p:cNvSpPr>
          <p:nvPr>
            <p:ph type="pic" idx="27"/>
          </p:nvPr>
        </p:nvSpPr>
        <p:spPr>
          <a:xfrm>
            <a:off x="4608944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21AD6DD-14BD-E044-8AD7-2881DB89182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609133" y="4611671"/>
            <a:ext cx="3008313" cy="1103313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Google Shape;72;p30">
            <a:extLst>
              <a:ext uri="{FF2B5EF4-FFF2-40B4-BE49-F238E27FC236}">
                <a16:creationId xmlns:a16="http://schemas.microsoft.com/office/drawing/2014/main" id="{18BFCAC6-D624-8622-7879-6E32A21B7DBA}"/>
              </a:ext>
            </a:extLst>
          </p:cNvPr>
          <p:cNvSpPr>
            <a:spLocks noGrp="1"/>
          </p:cNvSpPr>
          <p:nvPr>
            <p:ph type="pic" idx="28"/>
          </p:nvPr>
        </p:nvSpPr>
        <p:spPr>
          <a:xfrm>
            <a:off x="8345298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12415A3E-5C31-4007-8208-34FF613FDA4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345487" y="4611671"/>
            <a:ext cx="3008313" cy="1103313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3314E959-31F1-870D-FAE7-99D8E63330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6" name="Footer Placeholder 8">
            <a:extLst>
              <a:ext uri="{FF2B5EF4-FFF2-40B4-BE49-F238E27FC236}">
                <a16:creationId xmlns:a16="http://schemas.microsoft.com/office/drawing/2014/main" id="{F6ADE38F-D638-BFB1-E702-D0F6D0CB0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5284891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hotos and three coloured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41187F8-6993-4E2B-6622-C25429339D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E" sz="4400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72591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3FA7EE-FB05-1C4E-138A-F50BCF45EEC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73125" y="4591050"/>
            <a:ext cx="3008313" cy="1103313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Google Shape;72;p30">
            <a:extLst>
              <a:ext uri="{FF2B5EF4-FFF2-40B4-BE49-F238E27FC236}">
                <a16:creationId xmlns:a16="http://schemas.microsoft.com/office/drawing/2014/main" id="{463AB235-233D-D0DB-E16C-CB9366541FFD}"/>
              </a:ext>
            </a:extLst>
          </p:cNvPr>
          <p:cNvSpPr>
            <a:spLocks noGrp="1"/>
          </p:cNvSpPr>
          <p:nvPr>
            <p:ph type="pic" idx="27"/>
          </p:nvPr>
        </p:nvSpPr>
        <p:spPr>
          <a:xfrm>
            <a:off x="4608944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21AD6DD-14BD-E044-8AD7-2881DB89182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609133" y="4611671"/>
            <a:ext cx="3008313" cy="1103313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Google Shape;72;p30">
            <a:extLst>
              <a:ext uri="{FF2B5EF4-FFF2-40B4-BE49-F238E27FC236}">
                <a16:creationId xmlns:a16="http://schemas.microsoft.com/office/drawing/2014/main" id="{18BFCAC6-D624-8622-7879-6E32A21B7DBA}"/>
              </a:ext>
            </a:extLst>
          </p:cNvPr>
          <p:cNvSpPr>
            <a:spLocks noGrp="1"/>
          </p:cNvSpPr>
          <p:nvPr>
            <p:ph type="pic" idx="28"/>
          </p:nvPr>
        </p:nvSpPr>
        <p:spPr>
          <a:xfrm>
            <a:off x="8345298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12415A3E-5C31-4007-8208-34FF613FDA4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345487" y="4611671"/>
            <a:ext cx="3008313" cy="1103313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52517C-B46F-A98F-0643-A97107DEC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2" name="Footer Placeholder 8">
            <a:extLst>
              <a:ext uri="{FF2B5EF4-FFF2-40B4-BE49-F238E27FC236}">
                <a16:creationId xmlns:a16="http://schemas.microsoft.com/office/drawing/2014/main" id="{2D6F6E54-ED8F-C9DE-9355-5B2E347C24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0218367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a coloured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30C1291-4A16-4E7F-D6F2-0662C6CCE1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1690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38200" y="1706136"/>
            <a:ext cx="4840275" cy="3463179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1CCFCC-12CB-E276-21C2-DAA2C8D36EC9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393779" y="1706137"/>
            <a:ext cx="4960021" cy="3463178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9240A71C-FBDC-ABE7-AF08-221E5E6295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5" name="Footer Placeholder 8">
            <a:extLst>
              <a:ext uri="{FF2B5EF4-FFF2-40B4-BE49-F238E27FC236}">
                <a16:creationId xmlns:a16="http://schemas.microsoft.com/office/drawing/2014/main" id="{C1FACF7A-9967-0A10-F75B-7E70FCAB2B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6305228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positiv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3559404-34AB-2AB1-76B4-CB85000D69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816904"/>
            <a:ext cx="10515600" cy="816904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012AF7B-3A7E-8763-817E-DD321C64A6B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238038" cy="68580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8A2B82B-3461-6DA2-3E41-F3AC8139182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0" y="994438"/>
            <a:ext cx="6096000" cy="4521200"/>
          </a:xfrm>
          <a:solidFill>
            <a:schemeClr val="tx2"/>
          </a:solidFill>
        </p:spPr>
        <p:txBody>
          <a:bodyPr lIns="504000" anchor="ctr">
            <a:noAutofit/>
          </a:bodyPr>
          <a:lstStyle>
            <a:lvl1pPr marL="0" indent="0">
              <a:buNone/>
              <a:defRPr/>
            </a:lvl1pPr>
            <a:lvl2pPr marL="457200" indent="0">
              <a:buNone/>
              <a:defRPr lang="en-US" sz="2400" b="1" i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Google Shape;66;p29" descr="Quote">
            <a:extLst>
              <a:ext uri="{FF2B5EF4-FFF2-40B4-BE49-F238E27FC236}">
                <a16:creationId xmlns:a16="http://schemas.microsoft.com/office/drawing/2014/main" id="{2BA61D73-E039-6C69-A4A9-27D86CB30D1D}"/>
              </a:ext>
            </a:extLst>
          </p:cNvPr>
          <p:cNvPicPr preferRelativeResize="0"/>
          <p:nvPr/>
        </p:nvPicPr>
        <p:blipFill rotWithShape="1">
          <a:blip r:embed="rId2">
            <a:alphaModFix/>
            <a:biLevel thresh="50000"/>
          </a:blip>
          <a:srcRect/>
          <a:stretch/>
        </p:blipFill>
        <p:spPr>
          <a:xfrm rot="10800000">
            <a:off x="5349220" y="5138020"/>
            <a:ext cx="989729" cy="989729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 descr="A blue flag with yellow stars&#10;&#10;Description automatically generated">
            <a:extLst>
              <a:ext uri="{FF2B5EF4-FFF2-40B4-BE49-F238E27FC236}">
                <a16:creationId xmlns:a16="http://schemas.microsoft.com/office/drawing/2014/main" id="{BE2FFB7F-6A6F-E203-E2CE-AAC503E40FF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pic>
        <p:nvPicPr>
          <p:cNvPr id="5" name="Google Shape;66;p29" descr="Quote">
            <a:extLst>
              <a:ext uri="{FF2B5EF4-FFF2-40B4-BE49-F238E27FC236}">
                <a16:creationId xmlns:a16="http://schemas.microsoft.com/office/drawing/2014/main" id="{D61A7912-F509-F977-C8A3-05B55096DDA4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  <a:biLevel thresh="50000"/>
          </a:blip>
          <a:srcRect/>
          <a:stretch/>
        </p:blipFill>
        <p:spPr>
          <a:xfrm rot="10800000">
            <a:off x="5349220" y="5138020"/>
            <a:ext cx="989729" cy="989729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A blue flag with yellow stars&#10;&#10;Description automatically generated">
            <a:extLst>
              <a:ext uri="{FF2B5EF4-FFF2-40B4-BE49-F238E27FC236}">
                <a16:creationId xmlns:a16="http://schemas.microsoft.com/office/drawing/2014/main" id="{519F3A2E-810F-F3DF-534B-DFE8563EDC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C0BD146-26A9-B2E3-790A-137432E699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2" name="Footer Placeholder 8">
            <a:extLst>
              <a:ext uri="{FF2B5EF4-FFF2-40B4-BE49-F238E27FC236}">
                <a16:creationId xmlns:a16="http://schemas.microsoft.com/office/drawing/2014/main" id="{3E557AF9-465E-61C3-8C33-29231AE45B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1513491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egativ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16039EEF-B8E6-4383-4827-068F0611752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238038" cy="6858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1BE876A1-64BE-0A6D-B28E-A01C8883D1F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0" y="994438"/>
            <a:ext cx="6096000" cy="4521200"/>
          </a:xfrm>
          <a:solidFill>
            <a:schemeClr val="bg2"/>
          </a:solidFill>
        </p:spPr>
        <p:txBody>
          <a:bodyPr lIns="504000" anchor="ctr">
            <a:noAutofit/>
          </a:bodyPr>
          <a:lstStyle>
            <a:lvl1pPr marL="0" indent="0">
              <a:buNone/>
              <a:defRPr/>
            </a:lvl1pPr>
            <a:lvl2pPr marL="457200" indent="0">
              <a:buNone/>
              <a:defRPr lang="en-US" sz="2400" b="1" i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oogle Shape;66;p29" descr="Quote">
            <a:extLst>
              <a:ext uri="{FF2B5EF4-FFF2-40B4-BE49-F238E27FC236}">
                <a16:creationId xmlns:a16="http://schemas.microsoft.com/office/drawing/2014/main" id="{E1B4A183-929D-5431-B365-FECE6A72A484}"/>
              </a:ext>
            </a:extLst>
          </p:cNvPr>
          <p:cNvPicPr preferRelativeResize="0"/>
          <p:nvPr/>
        </p:nvPicPr>
        <p:blipFill rotWithShape="1">
          <a:blip r:embed="rId2">
            <a:alphaModFix/>
            <a:biLevel thresh="50000"/>
          </a:blip>
          <a:srcRect/>
          <a:stretch/>
        </p:blipFill>
        <p:spPr>
          <a:xfrm rot="10800000">
            <a:off x="5349220" y="5138020"/>
            <a:ext cx="989729" cy="989729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E6CD1AA0-BE2D-038C-5423-E271CF1636D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1148383-BBA9-7909-CFDF-60BEA0FE95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803511"/>
            <a:ext cx="10515600" cy="816904"/>
          </a:xfr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pic>
        <p:nvPicPr>
          <p:cNvPr id="6" name="Google Shape;66;p29" descr="Quote">
            <a:extLst>
              <a:ext uri="{FF2B5EF4-FFF2-40B4-BE49-F238E27FC236}">
                <a16:creationId xmlns:a16="http://schemas.microsoft.com/office/drawing/2014/main" id="{DE2EBF53-76CE-6C8F-0861-C3A5D384E180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  <a:biLevel thresh="50000"/>
          </a:blip>
          <a:srcRect/>
          <a:stretch/>
        </p:blipFill>
        <p:spPr>
          <a:xfrm rot="10800000">
            <a:off x="5349220" y="5138020"/>
            <a:ext cx="989729" cy="989729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AB87E6E1-A561-866F-CE99-26D96476848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765A446-C679-3C21-6DB2-E6E244E9DB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3" name="Footer Placeholder 8">
            <a:extLst>
              <a:ext uri="{FF2B5EF4-FFF2-40B4-BE49-F238E27FC236}">
                <a16:creationId xmlns:a16="http://schemas.microsoft.com/office/drawing/2014/main" id="{11C79F0A-B650-EE29-9ABF-AC09E77535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8502253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ag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78779EA-6394-AAE5-959A-6BB82A7D90AE}"/>
              </a:ext>
            </a:extLst>
          </p:cNvPr>
          <p:cNvSpPr/>
          <p:nvPr/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6" name="Google Shape;75;p31">
            <a:extLst>
              <a:ext uri="{FF2B5EF4-FFF2-40B4-BE49-F238E27FC236}">
                <a16:creationId xmlns:a16="http://schemas.microsoft.com/office/drawing/2014/main" id="{66DB0E40-389A-4ADF-E594-6BBAB29E7192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D6BCEAD-64F8-A9C2-D826-FF1F037B20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434898"/>
            <a:ext cx="10515600" cy="816904"/>
          </a:xfrm>
          <a:solidFill>
            <a:schemeClr val="bg1"/>
          </a:solidFill>
        </p:spPr>
        <p:txBody>
          <a:bodyPr lIns="180000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A59C8E60-AD13-6DDB-15AD-A3F8E3F22A7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4441825"/>
            <a:ext cx="10515600" cy="587375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C239B419-47F7-2FF3-C377-FBB7B2DBA6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4" name="Footer Placeholder 8">
            <a:extLst>
              <a:ext uri="{FF2B5EF4-FFF2-40B4-BE49-F238E27FC236}">
                <a16:creationId xmlns:a16="http://schemas.microsoft.com/office/drawing/2014/main" id="{D8C14CF6-6F1D-C458-1F86-A760F31FEE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545229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rcle picture coloured background">
    <p:bg>
      <p:bgPr>
        <a:solidFill>
          <a:srgbClr val="0033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Google Shape;128;p36">
            <a:extLst>
              <a:ext uri="{FF2B5EF4-FFF2-40B4-BE49-F238E27FC236}">
                <a16:creationId xmlns:a16="http://schemas.microsoft.com/office/drawing/2014/main" id="{A266CAEF-D60F-6624-41DB-56608F2B46A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152718" y="1683033"/>
            <a:ext cx="3886563" cy="3886563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pic>
        <p:nvPicPr>
          <p:cNvPr id="6" name="Picture 5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43A5598A-C2EA-5505-BEB5-E80CA68AEDA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4" name="Picture 3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3D5D7A7A-28D1-BC55-7F75-53B9E5FBC5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2B7D111-DE2E-9994-A799-F62F38E83D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3" name="Footer Placeholder 8">
            <a:extLst>
              <a:ext uri="{FF2B5EF4-FFF2-40B4-BE49-F238E27FC236}">
                <a16:creationId xmlns:a16="http://schemas.microsoft.com/office/drawing/2014/main" id="{33A6EEA9-52B7-550C-7CFD-E465C8DB4F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5300562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ircles pictures coloured background">
    <p:bg>
      <p:bgPr>
        <a:solidFill>
          <a:srgbClr val="0033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Google Shape;128;p36">
            <a:extLst>
              <a:ext uri="{FF2B5EF4-FFF2-40B4-BE49-F238E27FC236}">
                <a16:creationId xmlns:a16="http://schemas.microsoft.com/office/drawing/2014/main" id="{A266CAEF-D60F-6624-41DB-56608F2B46A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838200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Google Shape;128;p36">
            <a:extLst>
              <a:ext uri="{FF2B5EF4-FFF2-40B4-BE49-F238E27FC236}">
                <a16:creationId xmlns:a16="http://schemas.microsoft.com/office/drawing/2014/main" id="{7DC5575C-474B-C81C-6517-E882E9E5246B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4590896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Google Shape;128;p36">
            <a:extLst>
              <a:ext uri="{FF2B5EF4-FFF2-40B4-BE49-F238E27FC236}">
                <a16:creationId xmlns:a16="http://schemas.microsoft.com/office/drawing/2014/main" id="{948E1B30-A652-44AE-9B5E-AC9365965BF4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8343593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pic>
        <p:nvPicPr>
          <p:cNvPr id="6" name="Picture 5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D4D01C79-8E51-7320-51B2-6B4D1CD158E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3" name="Picture 2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D6200794-8F7F-E0F0-3735-90CCC24A8A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6271D99-21D4-ED76-0E54-1ECA6FD71E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4" name="Footer Placeholder 8">
            <a:extLst>
              <a:ext uri="{FF2B5EF4-FFF2-40B4-BE49-F238E27FC236}">
                <a16:creationId xmlns:a16="http://schemas.microsoft.com/office/drawing/2014/main" id="{36249086-331D-49C8-6F5E-1FD73ADA23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47583446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ircles pictures white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rgbClr val="00339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Google Shape;128;p36">
            <a:extLst>
              <a:ext uri="{FF2B5EF4-FFF2-40B4-BE49-F238E27FC236}">
                <a16:creationId xmlns:a16="http://schemas.microsoft.com/office/drawing/2014/main" id="{A266CAEF-D60F-6624-41DB-56608F2B46A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838200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Google Shape;128;p36">
            <a:extLst>
              <a:ext uri="{FF2B5EF4-FFF2-40B4-BE49-F238E27FC236}">
                <a16:creationId xmlns:a16="http://schemas.microsoft.com/office/drawing/2014/main" id="{7DC5575C-474B-C81C-6517-E882E9E5246B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4590896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Google Shape;128;p36">
            <a:extLst>
              <a:ext uri="{FF2B5EF4-FFF2-40B4-BE49-F238E27FC236}">
                <a16:creationId xmlns:a16="http://schemas.microsoft.com/office/drawing/2014/main" id="{948E1B30-A652-44AE-9B5E-AC9365965BF4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8343593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37EF38B-E8AF-66F2-44F8-7A5DA7FF34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3" name="Footer Placeholder 8">
            <a:extLst>
              <a:ext uri="{FF2B5EF4-FFF2-40B4-BE49-F238E27FC236}">
                <a16:creationId xmlns:a16="http://schemas.microsoft.com/office/drawing/2014/main" id="{0850E44D-CF7B-5CF4-6BF7-5B2F65007A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1470603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ircles pictures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4" name="Google Shape;128;p36">
            <a:extLst>
              <a:ext uri="{FF2B5EF4-FFF2-40B4-BE49-F238E27FC236}">
                <a16:creationId xmlns:a16="http://schemas.microsoft.com/office/drawing/2014/main" id="{C6066961-5253-C2E8-C59C-7D3AEA190748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38200" y="1644073"/>
            <a:ext cx="1784927" cy="1784927"/>
          </a:xfrm>
          <a:prstGeom prst="ellipse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887354" y="1792421"/>
            <a:ext cx="2881850" cy="148822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Google Shape;128;p36">
            <a:extLst>
              <a:ext uri="{FF2B5EF4-FFF2-40B4-BE49-F238E27FC236}">
                <a16:creationId xmlns:a16="http://schemas.microsoft.com/office/drawing/2014/main" id="{530B519E-B8E9-0851-34A7-4EBCABDB1F24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838198" y="3793520"/>
            <a:ext cx="1784927" cy="1784927"/>
          </a:xfrm>
          <a:prstGeom prst="ellipse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B7CC6BA2-60D9-1664-3253-8468AB06B3BA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2887352" y="3941868"/>
            <a:ext cx="2881850" cy="148822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Google Shape;128;p36">
            <a:extLst>
              <a:ext uri="{FF2B5EF4-FFF2-40B4-BE49-F238E27FC236}">
                <a16:creationId xmlns:a16="http://schemas.microsoft.com/office/drawing/2014/main" id="{B0466037-50F3-96B3-1B0E-06D3D18B8BCE}"/>
              </a:ext>
            </a:extLst>
          </p:cNvPr>
          <p:cNvSpPr>
            <a:spLocks noGrp="1"/>
          </p:cNvSpPr>
          <p:nvPr>
            <p:ph type="pic" idx="21"/>
          </p:nvPr>
        </p:nvSpPr>
        <p:spPr>
          <a:xfrm>
            <a:off x="6422796" y="1679603"/>
            <a:ext cx="1784927" cy="1784927"/>
          </a:xfrm>
          <a:prstGeom prst="ellipse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BC1C8BB-B6BF-EFC9-4FB7-FE68ADABF649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471950" y="1827951"/>
            <a:ext cx="2881850" cy="148822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Google Shape;128;p36">
            <a:extLst>
              <a:ext uri="{FF2B5EF4-FFF2-40B4-BE49-F238E27FC236}">
                <a16:creationId xmlns:a16="http://schemas.microsoft.com/office/drawing/2014/main" id="{2B2D1DEC-353D-0530-46BD-FAC7D81DC42A}"/>
              </a:ext>
            </a:extLst>
          </p:cNvPr>
          <p:cNvSpPr>
            <a:spLocks noGrp="1"/>
          </p:cNvSpPr>
          <p:nvPr>
            <p:ph type="pic" idx="23"/>
          </p:nvPr>
        </p:nvSpPr>
        <p:spPr>
          <a:xfrm>
            <a:off x="6422794" y="3829050"/>
            <a:ext cx="1784927" cy="1784927"/>
          </a:xfrm>
          <a:prstGeom prst="ellipse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EC01048-C2DE-CFE9-C353-8ED3741099B7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8471948" y="3977398"/>
            <a:ext cx="2881850" cy="148822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67E4CCE-C35C-C711-24D0-0F4BCA80C2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10" name="Footer Placeholder 8">
            <a:extLst>
              <a:ext uri="{FF2B5EF4-FFF2-40B4-BE49-F238E27FC236}">
                <a16:creationId xmlns:a16="http://schemas.microsoft.com/office/drawing/2014/main" id="{3B38F9D4-3EE2-3396-18AD-F87E42190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30983338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ectangles pictures white background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15" name="Google Shape;97;p33">
            <a:extLst>
              <a:ext uri="{FF2B5EF4-FFF2-40B4-BE49-F238E27FC236}">
                <a16:creationId xmlns:a16="http://schemas.microsoft.com/office/drawing/2014/main" id="{51CBB8A7-3E08-DCAC-14AF-878AC33CDC30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838200" y="1931348"/>
            <a:ext cx="2461591" cy="1638158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3438DF5-CCC4-87AD-037A-C14F79B626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08868" y="1931348"/>
            <a:ext cx="2462213" cy="1638300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oogle Shape;97;p33">
            <a:extLst>
              <a:ext uri="{FF2B5EF4-FFF2-40B4-BE49-F238E27FC236}">
                <a16:creationId xmlns:a16="http://schemas.microsoft.com/office/drawing/2014/main" id="{BFE9E99F-07A9-26A1-106E-78351E5222CA}"/>
              </a:ext>
            </a:extLst>
          </p:cNvPr>
          <p:cNvSpPr>
            <a:spLocks noGrp="1"/>
          </p:cNvSpPr>
          <p:nvPr>
            <p:ph type="pic" idx="7"/>
          </p:nvPr>
        </p:nvSpPr>
        <p:spPr>
          <a:xfrm>
            <a:off x="838202" y="3740272"/>
            <a:ext cx="2461591" cy="1638158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8A6A52A8-BCDE-0058-03FA-48265F58CC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08868" y="3740131"/>
            <a:ext cx="2462213" cy="1638300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Google Shape;95;p33">
            <a:extLst>
              <a:ext uri="{FF2B5EF4-FFF2-40B4-BE49-F238E27FC236}">
                <a16:creationId xmlns:a16="http://schemas.microsoft.com/office/drawing/2014/main" id="{A15E4B72-6400-86B0-FD40-4FCA9F38655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180157" y="1931348"/>
            <a:ext cx="2461593" cy="163815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76022ECE-0EE9-F2CA-72F3-353CAD2AB4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91587" y="1931348"/>
            <a:ext cx="2462213" cy="1638300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Google Shape;97;p33">
            <a:extLst>
              <a:ext uri="{FF2B5EF4-FFF2-40B4-BE49-F238E27FC236}">
                <a16:creationId xmlns:a16="http://schemas.microsoft.com/office/drawing/2014/main" id="{0D3E0C88-3573-7B0F-D8F7-5AAD283A42F2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6180157" y="3740272"/>
            <a:ext cx="2461591" cy="1638158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5F2FF4C0-B8CC-5E9A-7FF2-0BA1FD86664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91587" y="3740131"/>
            <a:ext cx="2462213" cy="1638300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F815C1-0113-F490-4A53-0227959CF6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5" name="Footer Placeholder 8">
            <a:extLst>
              <a:ext uri="{FF2B5EF4-FFF2-40B4-BE49-F238E27FC236}">
                <a16:creationId xmlns:a16="http://schemas.microsoft.com/office/drawing/2014/main" id="{40C61561-6F08-5417-8327-52799F6125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8011212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 squared pictures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114;p35">
            <a:extLst>
              <a:ext uri="{FF2B5EF4-FFF2-40B4-BE49-F238E27FC236}">
                <a16:creationId xmlns:a16="http://schemas.microsoft.com/office/drawing/2014/main" id="{28399EF8-5B4D-A564-C46D-6AC3EE3700F1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38200" y="1613730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4" name="Google Shape;115;p35">
            <a:extLst>
              <a:ext uri="{FF2B5EF4-FFF2-40B4-BE49-F238E27FC236}">
                <a16:creationId xmlns:a16="http://schemas.microsoft.com/office/drawing/2014/main" id="{1DB67F50-B209-813A-55E2-A45CCD6BCAE1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2993028" y="1613730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5" name="Google Shape;116;p35">
            <a:extLst>
              <a:ext uri="{FF2B5EF4-FFF2-40B4-BE49-F238E27FC236}">
                <a16:creationId xmlns:a16="http://schemas.microsoft.com/office/drawing/2014/main" id="{80AA888C-2660-9749-11E6-8A96DD56EACF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5147856" y="1613729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Google Shape;117;p35">
            <a:extLst>
              <a:ext uri="{FF2B5EF4-FFF2-40B4-BE49-F238E27FC236}">
                <a16:creationId xmlns:a16="http://schemas.microsoft.com/office/drawing/2014/main" id="{95752BFF-4A6F-68EA-E048-C405D776F6A9}"/>
              </a:ext>
            </a:extLst>
          </p:cNvPr>
          <p:cNvSpPr>
            <a:spLocks noGrp="1"/>
          </p:cNvSpPr>
          <p:nvPr>
            <p:ph type="pic" idx="5"/>
          </p:nvPr>
        </p:nvSpPr>
        <p:spPr>
          <a:xfrm>
            <a:off x="7302684" y="1613728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9" name="Google Shape;118;p35">
            <a:extLst>
              <a:ext uri="{FF2B5EF4-FFF2-40B4-BE49-F238E27FC236}">
                <a16:creationId xmlns:a16="http://schemas.microsoft.com/office/drawing/2014/main" id="{69A61CD2-9393-897F-4851-B55A256B6577}"/>
              </a:ext>
            </a:extLst>
          </p:cNvPr>
          <p:cNvSpPr>
            <a:spLocks noGrp="1"/>
          </p:cNvSpPr>
          <p:nvPr>
            <p:ph type="pic" idx="6"/>
          </p:nvPr>
        </p:nvSpPr>
        <p:spPr>
          <a:xfrm>
            <a:off x="9457512" y="1613728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5" name="Google Shape;114;p35">
            <a:extLst>
              <a:ext uri="{FF2B5EF4-FFF2-40B4-BE49-F238E27FC236}">
                <a16:creationId xmlns:a16="http://schemas.microsoft.com/office/drawing/2014/main" id="{5BBBB0BA-17D9-1A2A-5573-A96E32CB11C7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838200" y="3799760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6" name="Google Shape;115;p35">
            <a:extLst>
              <a:ext uri="{FF2B5EF4-FFF2-40B4-BE49-F238E27FC236}">
                <a16:creationId xmlns:a16="http://schemas.microsoft.com/office/drawing/2014/main" id="{E234676C-5503-D335-7C9F-8EBF756F24A7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2993028" y="3799760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7" name="Google Shape;116;p35">
            <a:extLst>
              <a:ext uri="{FF2B5EF4-FFF2-40B4-BE49-F238E27FC236}">
                <a16:creationId xmlns:a16="http://schemas.microsoft.com/office/drawing/2014/main" id="{8C059826-5CA9-F193-6C89-8B0DECF9ACE5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147856" y="3799759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8" name="Google Shape;117;p35">
            <a:extLst>
              <a:ext uri="{FF2B5EF4-FFF2-40B4-BE49-F238E27FC236}">
                <a16:creationId xmlns:a16="http://schemas.microsoft.com/office/drawing/2014/main" id="{E57729DD-0495-06CF-3D2B-B8EC5F7D6EF2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7302684" y="3799758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9" name="Google Shape;118;p35">
            <a:extLst>
              <a:ext uri="{FF2B5EF4-FFF2-40B4-BE49-F238E27FC236}">
                <a16:creationId xmlns:a16="http://schemas.microsoft.com/office/drawing/2014/main" id="{DDFD3960-357B-A667-2997-F567232AE448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9457512" y="3799758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94EF7B-6FA5-122A-260D-E885CDDAA5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7" name="Footer Placeholder 8">
            <a:extLst>
              <a:ext uri="{FF2B5EF4-FFF2-40B4-BE49-F238E27FC236}">
                <a16:creationId xmlns:a16="http://schemas.microsoft.com/office/drawing/2014/main" id="{2F8295BB-BABD-70B5-D58D-1DF08E62A28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6520039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quared pictures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114;p35">
            <a:extLst>
              <a:ext uri="{FF2B5EF4-FFF2-40B4-BE49-F238E27FC236}">
                <a16:creationId xmlns:a16="http://schemas.microsoft.com/office/drawing/2014/main" id="{28399EF8-5B4D-A564-C46D-6AC3EE3700F1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82651" y="2079625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4" name="Google Shape;115;p35">
            <a:extLst>
              <a:ext uri="{FF2B5EF4-FFF2-40B4-BE49-F238E27FC236}">
                <a16:creationId xmlns:a16="http://schemas.microsoft.com/office/drawing/2014/main" id="{1DB67F50-B209-813A-55E2-A45CCD6BCAE1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4746625" y="2079624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2" name="Google Shape;121;p35">
            <a:extLst>
              <a:ext uri="{FF2B5EF4-FFF2-40B4-BE49-F238E27FC236}">
                <a16:creationId xmlns:a16="http://schemas.microsoft.com/office/drawing/2014/main" id="{2EA4C09F-A3D0-2FDF-C8EF-EDEF2FCF78CE}"/>
              </a:ext>
            </a:extLst>
          </p:cNvPr>
          <p:cNvSpPr>
            <a:spLocks noGrp="1"/>
          </p:cNvSpPr>
          <p:nvPr>
            <p:ph type="pic" idx="9"/>
          </p:nvPr>
        </p:nvSpPr>
        <p:spPr>
          <a:xfrm>
            <a:off x="8655051" y="2079623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0CC5C1-4287-4FC9-8450-3D86D951FE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5" name="Footer Placeholder 8">
            <a:extLst>
              <a:ext uri="{FF2B5EF4-FFF2-40B4-BE49-F238E27FC236}">
                <a16:creationId xmlns:a16="http://schemas.microsoft.com/office/drawing/2014/main" id="{F95AF122-27C1-57B4-2A7C-54A134842A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04861404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quared pictures coloured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8" name="Google Shape;114;p35">
            <a:extLst>
              <a:ext uri="{FF2B5EF4-FFF2-40B4-BE49-F238E27FC236}">
                <a16:creationId xmlns:a16="http://schemas.microsoft.com/office/drawing/2014/main" id="{F38470BA-1066-4059-A16D-B9EE9722C73D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82651" y="2079625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Google Shape;115;p35">
            <a:extLst>
              <a:ext uri="{FF2B5EF4-FFF2-40B4-BE49-F238E27FC236}">
                <a16:creationId xmlns:a16="http://schemas.microsoft.com/office/drawing/2014/main" id="{4C5EDD4B-6148-8C81-CEE4-C4C5BFE4E787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4746625" y="2079624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9" name="Google Shape;121;p35">
            <a:extLst>
              <a:ext uri="{FF2B5EF4-FFF2-40B4-BE49-F238E27FC236}">
                <a16:creationId xmlns:a16="http://schemas.microsoft.com/office/drawing/2014/main" id="{85A61031-57E6-E855-38A1-FA502D6C575D}"/>
              </a:ext>
            </a:extLst>
          </p:cNvPr>
          <p:cNvSpPr>
            <a:spLocks noGrp="1"/>
          </p:cNvSpPr>
          <p:nvPr>
            <p:ph type="pic" idx="9"/>
          </p:nvPr>
        </p:nvSpPr>
        <p:spPr>
          <a:xfrm>
            <a:off x="8655051" y="2079623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pic>
        <p:nvPicPr>
          <p:cNvPr id="3" name="Picture 2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EC730096-D3D5-78FF-DEE5-BE9525C4DB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4" name="Picture 3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F9F566B8-5CFB-8DB0-6A67-925C39BEFB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7800A1-1EE4-975A-7B55-1404DB41F0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5" name="Footer Placeholder 8">
            <a:extLst>
              <a:ext uri="{FF2B5EF4-FFF2-40B4-BE49-F238E27FC236}">
                <a16:creationId xmlns:a16="http://schemas.microsoft.com/office/drawing/2014/main" id="{D39D4F72-AD6A-6B47-A2FF-9CFB1C55FFA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3698009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with credi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oogle Shape;444;p20">
            <a:extLst>
              <a:ext uri="{FF2B5EF4-FFF2-40B4-BE49-F238E27FC236}">
                <a16:creationId xmlns:a16="http://schemas.microsoft.com/office/drawing/2014/main" id="{DA7E9652-CF81-1788-7674-E1FA25BFE3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38200" y="3471269"/>
            <a:ext cx="1023496" cy="358097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144BEB-A192-AF1A-3CE0-A12C2705D8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3996499"/>
            <a:ext cx="10515600" cy="166687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  <a:lvl2pP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Google Shape;444;p20">
            <a:extLst>
              <a:ext uri="{FF2B5EF4-FFF2-40B4-BE49-F238E27FC236}">
                <a16:creationId xmlns:a16="http://schemas.microsoft.com/office/drawing/2014/main" id="{8A55753B-1E31-7005-E76C-7A1B520A3A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838200" y="3471269"/>
            <a:ext cx="1023496" cy="358097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0FE782E-88D7-720D-47B0-E5C4BDBFE0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2134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ag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D5B256C-F848-9C9F-2A9C-E218DE9A1995}"/>
              </a:ext>
            </a:extLst>
          </p:cNvPr>
          <p:cNvSpPr/>
          <p:nvPr userDrawn="1"/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2597A6-449C-FD56-6361-6B67C14204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E1DFA4B-D09C-D3C7-CF14-10151C0BAF5D}"/>
              </a:ext>
            </a:extLst>
          </p:cNvPr>
          <p:cNvSpPr/>
          <p:nvPr/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22CA66-7408-CA5B-7EAD-6C36A01B5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434898"/>
            <a:ext cx="10515600" cy="816904"/>
          </a:xfrm>
          <a:solidFill>
            <a:schemeClr val="bg1"/>
          </a:solidFill>
        </p:spPr>
        <p:txBody>
          <a:bodyPr lIns="180000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A90F452-4E6C-2A2B-2B9D-88A3D16A05C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4441825"/>
            <a:ext cx="10515600" cy="587375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A1F22256-0B85-5AAD-C0B2-E8F5E3C500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203509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ag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8D58619-8012-9B7D-9C59-16671B374575}"/>
              </a:ext>
            </a:extLst>
          </p:cNvPr>
          <p:cNvSpPr/>
          <p:nvPr userDrawn="1"/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2597A6-449C-FD56-6361-6B67C14204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E1DFA4B-D09C-D3C7-CF14-10151C0BAF5D}"/>
              </a:ext>
            </a:extLst>
          </p:cNvPr>
          <p:cNvSpPr/>
          <p:nvPr/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22CA66-7408-CA5B-7EAD-6C36A01B5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434898"/>
            <a:ext cx="10515600" cy="816904"/>
          </a:xfrm>
          <a:solidFill>
            <a:schemeClr val="bg1"/>
          </a:solidFill>
        </p:spPr>
        <p:txBody>
          <a:bodyPr lIns="180000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A90F452-4E6C-2A2B-2B9D-88A3D16A05C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4441825"/>
            <a:ext cx="10515600" cy="587375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A0835BD4-2C09-6FBA-FC30-3BD6A28667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8137485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age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145A3C0-5810-CECB-04D1-E370BADB2EE8}"/>
              </a:ext>
            </a:extLst>
          </p:cNvPr>
          <p:cNvSpPr/>
          <p:nvPr userDrawn="1"/>
        </p:nvSpPr>
        <p:spPr>
          <a:xfrm flipV="1">
            <a:off x="0" y="1861457"/>
            <a:ext cx="12192000" cy="49965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E1DFA4B-D09C-D3C7-CF14-10151C0BAF5D}"/>
              </a:ext>
            </a:extLst>
          </p:cNvPr>
          <p:cNvSpPr/>
          <p:nvPr/>
        </p:nvSpPr>
        <p:spPr>
          <a:xfrm flipV="1">
            <a:off x="0" y="1861457"/>
            <a:ext cx="12192000" cy="49965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2597A6-449C-FD56-6361-6B67C14204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22CA66-7408-CA5B-7EAD-6C36A01B5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10155"/>
            <a:ext cx="10515600" cy="816904"/>
          </a:xfrm>
          <a:solidFill>
            <a:schemeClr val="bg1"/>
          </a:solidFill>
        </p:spPr>
        <p:txBody>
          <a:bodyPr lIns="180000" tIns="144000" rIns="144000" bIns="144000" anchor="ctr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A90F452-4E6C-2A2B-2B9D-88A3D16A05C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2482397"/>
            <a:ext cx="10515600" cy="58737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9BD178DF-B2B3-E383-43AA-D54BBF22737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6" name="Picture 5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9C194F48-423C-93CB-1A61-CE12CAB5B4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10" name="Footer Placeholder 8">
            <a:extLst>
              <a:ext uri="{FF2B5EF4-FFF2-40B4-BE49-F238E27FC236}">
                <a16:creationId xmlns:a16="http://schemas.microsoft.com/office/drawing/2014/main" id="{5037411D-B917-4DD6-582A-69CDCB27DA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5409350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age op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9526B31-D383-5ABA-08B1-8097743DECE0}"/>
              </a:ext>
            </a:extLst>
          </p:cNvPr>
          <p:cNvSpPr/>
          <p:nvPr userDrawn="1"/>
        </p:nvSpPr>
        <p:spPr>
          <a:xfrm flipV="1">
            <a:off x="0" y="1861457"/>
            <a:ext cx="12192000" cy="499654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E1DFA4B-D09C-D3C7-CF14-10151C0BAF5D}"/>
              </a:ext>
            </a:extLst>
          </p:cNvPr>
          <p:cNvSpPr/>
          <p:nvPr/>
        </p:nvSpPr>
        <p:spPr>
          <a:xfrm flipV="1">
            <a:off x="0" y="1861457"/>
            <a:ext cx="12192000" cy="499654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2597A6-449C-FD56-6361-6B67C14204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22CA66-7408-CA5B-7EAD-6C36A01B5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10155"/>
            <a:ext cx="10515600" cy="816904"/>
          </a:xfrm>
          <a:solidFill>
            <a:schemeClr val="bg1"/>
          </a:solidFill>
        </p:spPr>
        <p:txBody>
          <a:bodyPr lIns="180000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A90F452-4E6C-2A2B-2B9D-88A3D16A05C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2482397"/>
            <a:ext cx="10515600" cy="58737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A blue flag with yellow stars&#10;&#10;Description automatically generated">
            <a:extLst>
              <a:ext uri="{FF2B5EF4-FFF2-40B4-BE49-F238E27FC236}">
                <a16:creationId xmlns:a16="http://schemas.microsoft.com/office/drawing/2014/main" id="{D7151F52-9DDF-CEC4-58EC-587B7A1D779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pic>
        <p:nvPicPr>
          <p:cNvPr id="8" name="Picture 7" descr="A blue flag with yellow stars&#10;&#10;Description automatically generated">
            <a:extLst>
              <a:ext uri="{FF2B5EF4-FFF2-40B4-BE49-F238E27FC236}">
                <a16:creationId xmlns:a16="http://schemas.microsoft.com/office/drawing/2014/main" id="{8B94F84F-1590-9DE6-C3AC-9FBA58E40E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sp>
        <p:nvSpPr>
          <p:cNvPr id="10" name="Footer Placeholder 8">
            <a:extLst>
              <a:ext uri="{FF2B5EF4-FFF2-40B4-BE49-F238E27FC236}">
                <a16:creationId xmlns:a16="http://schemas.microsoft.com/office/drawing/2014/main" id="{6D8387C3-85B8-44CF-42FB-C414F5876B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4985161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BBD8A8F-01F7-069C-2D69-AFCA2F78DF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3638473"/>
          </a:xfrm>
          <a:prstGeom prst="rect">
            <a:avLst/>
          </a:prstGeom>
        </p:spPr>
        <p:txBody>
          <a:bodyPr vert="horz" lIns="144000" tIns="144000" rIns="144000" bIns="144000" rtlCol="0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87499CD-21D1-84C4-7FD1-F33A396395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5" name="Footer Placeholder 8">
            <a:extLst>
              <a:ext uri="{FF2B5EF4-FFF2-40B4-BE49-F238E27FC236}">
                <a16:creationId xmlns:a16="http://schemas.microsoft.com/office/drawing/2014/main" id="{3A7104ED-A036-D2F4-B40F-5A65C505AC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3992288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and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09BE7C2-2602-0313-8D83-EAB1C755A7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3638473"/>
          </a:xfrm>
          <a:prstGeom prst="rect">
            <a:avLst/>
          </a:prstGeom>
        </p:spPr>
        <p:txBody>
          <a:bodyPr vert="horz" lIns="144000" tIns="144000" rIns="144000" bIns="144000" rtlCol="0">
            <a:noAutofit/>
          </a:bodyPr>
          <a:lstStyle>
            <a:lvl1pPr marL="342900" indent="-342900"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  <a:defRPr sz="2000"/>
            </a:lvl1pPr>
            <a:lvl2pPr>
              <a:buClr>
                <a:schemeClr val="tx2"/>
              </a:buClr>
              <a:buSzPct val="100000"/>
              <a:defRPr sz="1800"/>
            </a:lvl2pPr>
            <a:lvl3pPr>
              <a:buClr>
                <a:schemeClr val="tx2"/>
              </a:buClr>
              <a:defRPr sz="1600"/>
            </a:lvl3pPr>
            <a:lvl4pPr>
              <a:buClr>
                <a:schemeClr val="tx2"/>
              </a:buClr>
              <a:defRPr sz="14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D43C2E6-DFE0-78B7-AEF2-E94F28383C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5" name="Footer Placeholder 8">
            <a:extLst>
              <a:ext uri="{FF2B5EF4-FFF2-40B4-BE49-F238E27FC236}">
                <a16:creationId xmlns:a16="http://schemas.microsoft.com/office/drawing/2014/main" id="{2BE520F0-58F1-06F4-10C5-832EFDCE68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7490061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1.xml"/><Relationship Id="rId45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3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9BFCF753-35EE-A431-3502-54767A84F847}"/>
              </a:ext>
            </a:extLst>
          </p:cNvPr>
          <p:cNvGraphicFramePr>
            <a:graphicFrameLocks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1912845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26" imgH="426" progId="TCLayout.ActiveDocument.1">
                  <p:embed/>
                </p:oleObj>
              </mc:Choice>
              <mc:Fallback>
                <p:oleObj name="think-cell Slide" r:id="rId41" imgW="426" imgH="42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FCF753-35EE-A431-3502-54767A84F8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0FE374-A678-A684-FA4B-26330CF65F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D4A1E0C-386D-FF7A-6872-1942CD43357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838200" y="365126"/>
            <a:ext cx="10515600" cy="8169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EE66B9-5E84-94E6-4EDD-A9E25FB078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42619"/>
          </a:xfrm>
          <a:prstGeom prst="rect">
            <a:avLst/>
          </a:prstGeom>
        </p:spPr>
        <p:txBody>
          <a:bodyPr vert="horz" lIns="144000" tIns="144000" rIns="144000" bIns="144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  <a:p>
            <a:pPr lvl="1"/>
            <a:endParaRPr lang="en-US"/>
          </a:p>
          <a:p>
            <a:pPr lvl="1"/>
            <a:endParaRPr lang="en-US"/>
          </a:p>
          <a:p>
            <a:pPr lvl="0"/>
            <a:endParaRPr lang="en-US"/>
          </a:p>
          <a:p>
            <a:pPr lvl="1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F653097-A9FD-84E7-4EFA-47C8DA4850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pic>
        <p:nvPicPr>
          <p:cNvPr id="5" name="Picture 4" descr="A close-up of a line&#10;&#10;Description automatically generated" hidden="1">
            <a:extLst>
              <a:ext uri="{FF2B5EF4-FFF2-40B4-BE49-F238E27FC236}">
                <a16:creationId xmlns:a16="http://schemas.microsoft.com/office/drawing/2014/main" id="{CE57FDCE-6642-0FA5-3739-FA81457769C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44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D640C55-B1A0-5DE0-B0E4-F05DE5506E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pic>
        <p:nvPicPr>
          <p:cNvPr id="8" name="Picture 7" descr="A close-up of a line&#10;&#10;Description automatically generated" hidden="1">
            <a:extLst>
              <a:ext uri="{FF2B5EF4-FFF2-40B4-BE49-F238E27FC236}">
                <a16:creationId xmlns:a16="http://schemas.microsoft.com/office/drawing/2014/main" id="{A12B438D-C839-BF7B-253A-401802D9F2AC}"/>
              </a:ext>
            </a:extLst>
          </p:cNvPr>
          <p:cNvPicPr/>
          <p:nvPr userDrawn="1"/>
        </p:nvPicPr>
        <p:blipFill>
          <a:blip r:embed="rId44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2756ABFE-DCB4-5FCC-525D-A462F5BB02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6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endParaRPr lang="en-IE"/>
          </a:p>
        </p:txBody>
      </p:sp>
      <p:pic>
        <p:nvPicPr>
          <p:cNvPr id="11" name="Picture Placeholder 26" descr="A logo with text and a light bulb&#10;&#10;AI-generated content may be incorrect.">
            <a:extLst>
              <a:ext uri="{FF2B5EF4-FFF2-40B4-BE49-F238E27FC236}">
                <a16:creationId xmlns:a16="http://schemas.microsoft.com/office/drawing/2014/main" id="{365F79E8-8430-D7E7-A21F-6AAB506D3B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5"/>
          <a:srcRect l="10718" t="10714" r="10718" b="10714"/>
          <a:stretch>
            <a:fillRect/>
          </a:stretch>
        </p:blipFill>
        <p:spPr>
          <a:xfrm>
            <a:off x="9929516" y="5952935"/>
            <a:ext cx="776671" cy="776671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</p:pic>
    </p:spTree>
    <p:extLst>
      <p:ext uri="{BB962C8B-B14F-4D97-AF65-F5344CB8AC3E}">
        <p14:creationId xmlns:p14="http://schemas.microsoft.com/office/powerpoint/2010/main" val="229934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  <p:sldLayoutId id="2147483926" r:id="rId6"/>
    <p:sldLayoutId id="2147483927" r:id="rId7"/>
    <p:sldLayoutId id="2147483928" r:id="rId8"/>
    <p:sldLayoutId id="2147483929" r:id="rId9"/>
    <p:sldLayoutId id="2147483930" r:id="rId10"/>
    <p:sldLayoutId id="2147483931" r:id="rId11"/>
    <p:sldLayoutId id="2147483932" r:id="rId12"/>
    <p:sldLayoutId id="2147483933" r:id="rId13"/>
    <p:sldLayoutId id="2147483934" r:id="rId14"/>
    <p:sldLayoutId id="2147483935" r:id="rId15"/>
    <p:sldLayoutId id="2147483936" r:id="rId16"/>
    <p:sldLayoutId id="2147483937" r:id="rId17"/>
    <p:sldLayoutId id="2147483938" r:id="rId18"/>
    <p:sldLayoutId id="2147483939" r:id="rId19"/>
    <p:sldLayoutId id="2147483940" r:id="rId20"/>
    <p:sldLayoutId id="2147483941" r:id="rId21"/>
    <p:sldLayoutId id="2147483942" r:id="rId22"/>
    <p:sldLayoutId id="2147483943" r:id="rId23"/>
    <p:sldLayoutId id="2147483944" r:id="rId24"/>
    <p:sldLayoutId id="2147483945" r:id="rId25"/>
    <p:sldLayoutId id="2147483946" r:id="rId26"/>
    <p:sldLayoutId id="2147483947" r:id="rId27"/>
    <p:sldLayoutId id="2147483948" r:id="rId28"/>
    <p:sldLayoutId id="2147483949" r:id="rId29"/>
    <p:sldLayoutId id="2147483950" r:id="rId30"/>
    <p:sldLayoutId id="2147483951" r:id="rId31"/>
    <p:sldLayoutId id="2147483952" r:id="rId32"/>
    <p:sldLayoutId id="2147483953" r:id="rId33"/>
    <p:sldLayoutId id="2147483954" r:id="rId34"/>
    <p:sldLayoutId id="2147483955" r:id="rId35"/>
    <p:sldLayoutId id="2147483956" r:id="rId36"/>
    <p:sldLayoutId id="2147483957" r:id="rId37"/>
    <p:sldLayoutId id="2147483958" r:id="rId3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160" userDrawn="1">
          <p15:clr>
            <a:srgbClr val="F26B43"/>
          </p15:clr>
        </p15:guide>
        <p15:guide id="4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E21889-842C-19E2-4932-37ABA5181D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6">
            <a:extLst>
              <a:ext uri="{FF2B5EF4-FFF2-40B4-BE49-F238E27FC236}">
                <a16:creationId xmlns:a16="http://schemas.microsoft.com/office/drawing/2014/main" id="{6078A073-A80C-05AD-A09F-16AFCB98448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1182030"/>
          </a:xfrm>
          <a:prstGeom prst="rect">
            <a:avLst/>
          </a:prstGeom>
          <a:solidFill>
            <a:srgbClr val="003399"/>
          </a:solidFill>
        </p:spPr>
        <p:txBody>
          <a:bodyPr vert="horz" lIns="72000" tIns="72000" rIns="72000" bIns="720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highlight>
                  <a:srgbClr val="003399"/>
                </a:highlight>
                <a:latin typeface="+mj-lt"/>
                <a:ea typeface="+mj-ea"/>
                <a:cs typeface="+mj-cs"/>
              </a:defRPr>
            </a:lvl1pPr>
          </a:lstStyle>
          <a:p>
            <a:pPr>
              <a:buClrTx/>
            </a:pPr>
            <a:r>
              <a:rPr lang="en-GB" sz="3400" dirty="0"/>
              <a:t>Thematic Evaluation of EU support on social protection to Kosovo</a:t>
            </a:r>
            <a:endParaRPr lang="en-IE" sz="3400" dirty="0"/>
          </a:p>
        </p:txBody>
      </p:sp>
      <p:sp>
        <p:nvSpPr>
          <p:cNvPr id="15" name="Content Placeholder 20">
            <a:extLst>
              <a:ext uri="{FF2B5EF4-FFF2-40B4-BE49-F238E27FC236}">
                <a16:creationId xmlns:a16="http://schemas.microsoft.com/office/drawing/2014/main" id="{FF5ED7C1-5B75-2B5B-0B23-F9C57D923E8C}"/>
              </a:ext>
            </a:extLst>
          </p:cNvPr>
          <p:cNvSpPr txBox="1">
            <a:spLocks/>
          </p:cNvSpPr>
          <p:nvPr/>
        </p:nvSpPr>
        <p:spPr>
          <a:xfrm>
            <a:off x="488155" y="1496684"/>
            <a:ext cx="10629508" cy="38914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 cap="rnd">
            <a:noFill/>
            <a:round/>
          </a:ln>
        </p:spPr>
        <p:txBody>
          <a:bodyPr vert="horz" lIns="72000" tIns="72000" rIns="72000" bIns="72000" rtlCol="0">
            <a:noAutofit/>
          </a:bodyPr>
          <a:lstStyle>
            <a:lvl1pPr marL="0" indent="0" defTabSz="91440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defTabSz="91440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1600" dirty="0"/>
              <a:t>Intervention(s) </a:t>
            </a:r>
            <a:r>
              <a:rPr lang="fr-BE" sz="1600" dirty="0" err="1"/>
              <a:t>being</a:t>
            </a:r>
            <a:r>
              <a:rPr lang="fr-BE" sz="1600" dirty="0"/>
              <a:t> </a:t>
            </a:r>
            <a:r>
              <a:rPr lang="fr-BE" sz="1600" dirty="0" err="1"/>
              <a:t>evaluated</a:t>
            </a:r>
            <a:r>
              <a:rPr lang="fr-BE" sz="1600" dirty="0"/>
              <a:t>:</a:t>
            </a:r>
            <a:endParaRPr lang="en-IE" sz="16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3266030-9B1A-3622-198E-DE2BEA352FEE}"/>
              </a:ext>
            </a:extLst>
          </p:cNvPr>
          <p:cNvSpPr txBox="1"/>
          <p:nvPr/>
        </p:nvSpPr>
        <p:spPr>
          <a:xfrm>
            <a:off x="583404" y="2110256"/>
            <a:ext cx="9541671" cy="37548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dirty="0"/>
          </a:p>
          <a:p>
            <a:r>
              <a:rPr lang="en-GB" b="1" dirty="0"/>
              <a:t>‘EU4 Social protection following the coronavirus crisis’ </a:t>
            </a:r>
            <a:r>
              <a:rPr lang="en-GB" dirty="0"/>
              <a:t>(EUR 11.8 M) </a:t>
            </a:r>
          </a:p>
          <a:p>
            <a:r>
              <a:rPr lang="en-GB" dirty="0"/>
              <a:t>The main objective was to addressed social protection issues following the covid-19 crisis. </a:t>
            </a:r>
          </a:p>
          <a:p>
            <a:r>
              <a:rPr lang="en-GB" dirty="0"/>
              <a:t>This programme was implemented through 3 separate projects by UNDP (EUR 5 M), Save the Children (EUR 4 M), IOM (EUR 2.4).</a:t>
            </a:r>
          </a:p>
          <a:p>
            <a:endParaRPr lang="en-GB" dirty="0"/>
          </a:p>
          <a:p>
            <a:r>
              <a:rPr lang="en-GB" dirty="0"/>
              <a:t>The Action put forward 5 areas of intervention that were distributed among the different implementers:</a:t>
            </a:r>
          </a:p>
          <a:p>
            <a:r>
              <a:rPr lang="en-GB" i="1" dirty="0"/>
              <a:t>	1. </a:t>
            </a:r>
            <a:r>
              <a:rPr lang="en-GB" dirty="0"/>
              <a:t>Ensuring basic services</a:t>
            </a:r>
          </a:p>
          <a:p>
            <a:r>
              <a:rPr lang="en-GB" i="1" dirty="0"/>
              <a:t>	2. </a:t>
            </a:r>
            <a:r>
              <a:rPr lang="en-GB" dirty="0"/>
              <a:t>Strengthening accessibility to social services and personal protective equipment for front-line</a:t>
            </a:r>
          </a:p>
          <a:p>
            <a:r>
              <a:rPr lang="en-GB" dirty="0"/>
              <a:t>	workers to mitigate the effect of the pandemic</a:t>
            </a:r>
          </a:p>
          <a:p>
            <a:r>
              <a:rPr lang="en-GB" i="1" dirty="0"/>
              <a:t>	3. </a:t>
            </a:r>
            <a:r>
              <a:rPr lang="en-GB" dirty="0"/>
              <a:t>Strengthening the financial and institutional system and legal framework to improve the quality</a:t>
            </a:r>
          </a:p>
          <a:p>
            <a:r>
              <a:rPr lang="en-GB" dirty="0"/>
              <a:t>	and accessibility of social services</a:t>
            </a:r>
          </a:p>
          <a:p>
            <a:r>
              <a:rPr lang="en-GB" i="1" dirty="0"/>
              <a:t>	4. </a:t>
            </a:r>
            <a:r>
              <a:rPr lang="en-GB" dirty="0"/>
              <a:t>Strengthening social cohesion and minority inclusion</a:t>
            </a:r>
          </a:p>
          <a:p>
            <a:r>
              <a:rPr lang="en-GB" i="1" dirty="0"/>
              <a:t>	5. </a:t>
            </a:r>
            <a:r>
              <a:rPr lang="en-GB" dirty="0"/>
              <a:t>Support to women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57904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7C41CF-ECF2-072B-D9E3-67CD62F24A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6">
            <a:extLst>
              <a:ext uri="{FF2B5EF4-FFF2-40B4-BE49-F238E27FC236}">
                <a16:creationId xmlns:a16="http://schemas.microsoft.com/office/drawing/2014/main" id="{DA0DDA17-4335-DC57-E44D-D7C0D8AA768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1182030"/>
          </a:xfrm>
          <a:prstGeom prst="rect">
            <a:avLst/>
          </a:prstGeom>
          <a:solidFill>
            <a:srgbClr val="003399"/>
          </a:solidFill>
        </p:spPr>
        <p:txBody>
          <a:bodyPr vert="horz" lIns="72000" tIns="72000" rIns="72000" bIns="720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highlight>
                  <a:srgbClr val="003399"/>
                </a:highlight>
                <a:latin typeface="+mj-lt"/>
                <a:ea typeface="+mj-ea"/>
                <a:cs typeface="+mj-cs"/>
              </a:defRPr>
            </a:lvl1pPr>
          </a:lstStyle>
          <a:p>
            <a:pPr>
              <a:buClrTx/>
            </a:pPr>
            <a:r>
              <a:rPr lang="en-GB" sz="3400" dirty="0"/>
              <a:t>Thematic Evaluation of EU support on social protection to Kosovo</a:t>
            </a:r>
            <a:endParaRPr lang="en-IE" sz="3400" dirty="0"/>
          </a:p>
        </p:txBody>
      </p:sp>
      <p:sp>
        <p:nvSpPr>
          <p:cNvPr id="15" name="Content Placeholder 20">
            <a:extLst>
              <a:ext uri="{FF2B5EF4-FFF2-40B4-BE49-F238E27FC236}">
                <a16:creationId xmlns:a16="http://schemas.microsoft.com/office/drawing/2014/main" id="{E8F166B7-FE8E-C9F0-FEF5-84C8CFD9F260}"/>
              </a:ext>
            </a:extLst>
          </p:cNvPr>
          <p:cNvSpPr txBox="1">
            <a:spLocks/>
          </p:cNvSpPr>
          <p:nvPr/>
        </p:nvSpPr>
        <p:spPr>
          <a:xfrm>
            <a:off x="488155" y="1496684"/>
            <a:ext cx="10629508" cy="38914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 cap="rnd">
            <a:noFill/>
            <a:round/>
          </a:ln>
        </p:spPr>
        <p:txBody>
          <a:bodyPr vert="horz" lIns="72000" tIns="72000" rIns="72000" bIns="72000" rtlCol="0">
            <a:noAutofit/>
          </a:bodyPr>
          <a:lstStyle>
            <a:lvl1pPr marL="0" indent="0" defTabSz="91440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defTabSz="91440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1600" dirty="0"/>
              <a:t>Intervention(s) </a:t>
            </a:r>
            <a:r>
              <a:rPr lang="fr-BE" sz="1600" dirty="0" err="1"/>
              <a:t>being</a:t>
            </a:r>
            <a:r>
              <a:rPr lang="fr-BE" sz="1600" dirty="0"/>
              <a:t> </a:t>
            </a:r>
            <a:r>
              <a:rPr lang="fr-BE" sz="1600" dirty="0" err="1"/>
              <a:t>evaluated</a:t>
            </a:r>
            <a:r>
              <a:rPr lang="fr-BE" sz="1600" dirty="0"/>
              <a:t>:</a:t>
            </a:r>
            <a:endParaRPr lang="en-IE" sz="16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5AC7019-EC0A-E4CD-E3AF-B287CBE78F29}"/>
              </a:ext>
            </a:extLst>
          </p:cNvPr>
          <p:cNvSpPr txBox="1"/>
          <p:nvPr/>
        </p:nvSpPr>
        <p:spPr>
          <a:xfrm>
            <a:off x="488155" y="1885831"/>
            <a:ext cx="9541671" cy="46166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dirty="0"/>
          </a:p>
          <a:p>
            <a:r>
              <a:rPr lang="en-GB" b="1" dirty="0"/>
              <a:t>“Capacity development and financial support to </a:t>
            </a:r>
            <a:r>
              <a:rPr lang="en-GB" b="1" dirty="0" err="1"/>
              <a:t>CSOs</a:t>
            </a:r>
            <a:r>
              <a:rPr lang="en-GB" b="1" dirty="0"/>
              <a:t> working for gender equality amidst the COVID-19 pandemic and its aftermath and beyond” </a:t>
            </a:r>
            <a:r>
              <a:rPr lang="en-GB" dirty="0"/>
              <a:t>(EUR 0.4 M).</a:t>
            </a:r>
          </a:p>
          <a:p>
            <a:r>
              <a:rPr lang="en-GB" dirty="0"/>
              <a:t>The main objective of this programme was to enhance the capacities and resilience of Kosovo </a:t>
            </a:r>
            <a:r>
              <a:rPr lang="en-GB" dirty="0" err="1"/>
              <a:t>CSOs</a:t>
            </a:r>
            <a:r>
              <a:rPr lang="en-GB" dirty="0"/>
              <a:t> working towards gender  equality to  mitigate  social  and  economic  impacts  of  the  COVID-19  pandemic  among  the  most vulnerable, particularly women and girls</a:t>
            </a:r>
          </a:p>
          <a:p>
            <a:endParaRPr lang="en-GB" dirty="0"/>
          </a:p>
          <a:p>
            <a:r>
              <a:rPr lang="en-GB" dirty="0"/>
              <a:t>In addition, 2 projects resulting from the call “Civil Society Facility &amp; Media Programme for Western Balkans and Turkey 2016-2017:</a:t>
            </a:r>
          </a:p>
          <a:p>
            <a:endParaRPr lang="en-GB" dirty="0"/>
          </a:p>
          <a:p>
            <a:r>
              <a:rPr lang="en-GB" dirty="0"/>
              <a:t>“</a:t>
            </a:r>
            <a:r>
              <a:rPr lang="en-GB" b="1" dirty="0"/>
              <a:t>Social services decentralisation”: Joint Action for Decentralisation </a:t>
            </a:r>
            <a:r>
              <a:rPr lang="en-GB" dirty="0"/>
              <a:t>(EUR 0.5 M)</a:t>
            </a:r>
          </a:p>
          <a:p>
            <a:r>
              <a:rPr lang="en-GB" dirty="0"/>
              <a:t>The overall objective of this action is to contribute to the completion of social services decentralisation process in</a:t>
            </a:r>
          </a:p>
          <a:p>
            <a:r>
              <a:rPr lang="en-GB" dirty="0"/>
              <a:t>Kosovo.</a:t>
            </a:r>
          </a:p>
          <a:p>
            <a:endParaRPr lang="en-GB" dirty="0"/>
          </a:p>
          <a:p>
            <a:r>
              <a:rPr lang="en-GB" dirty="0"/>
              <a:t>‘</a:t>
            </a:r>
            <a:r>
              <a:rPr lang="en-GB" b="1" dirty="0"/>
              <a:t>’Social protection of most vulnerable groups of children’’ - provision of comprehensive psychosocial, shelter</a:t>
            </a:r>
          </a:p>
          <a:p>
            <a:r>
              <a:rPr lang="en-GB" b="1" dirty="0"/>
              <a:t>and rehabilitation services</a:t>
            </a:r>
            <a:r>
              <a:rPr lang="en-GB" dirty="0"/>
              <a:t>( EUR 0.45 M) -  The two Components under this project wer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omponent 1. Children with disabilities in target municipalities benefited from utilisation of qualitative psychosocial and rehabilitation services and access to innovative programmes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omponent 2. Children in need of protection from all Kosovo benefitted from access to and utilisation of integrated shelter rehabilitation and reintegration services.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71745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6">
            <a:extLst>
              <a:ext uri="{FF2B5EF4-FFF2-40B4-BE49-F238E27FC236}">
                <a16:creationId xmlns:a16="http://schemas.microsoft.com/office/drawing/2014/main" id="{021BCB6A-EEB8-7C27-E137-00D425A90F2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1182030"/>
          </a:xfrm>
          <a:prstGeom prst="rect">
            <a:avLst/>
          </a:prstGeom>
          <a:solidFill>
            <a:srgbClr val="003399"/>
          </a:solidFill>
        </p:spPr>
        <p:txBody>
          <a:bodyPr vert="horz" lIns="72000" tIns="72000" rIns="72000" bIns="720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highlight>
                  <a:srgbClr val="003399"/>
                </a:highlight>
                <a:latin typeface="+mj-lt"/>
                <a:ea typeface="+mj-ea"/>
                <a:cs typeface="+mj-cs"/>
              </a:defRPr>
            </a:lvl1pPr>
          </a:lstStyle>
          <a:p>
            <a:pPr>
              <a:buClrTx/>
              <a:buFontTx/>
            </a:pPr>
            <a:r>
              <a:rPr lang="en-GB" sz="3400" dirty="0"/>
              <a:t>Thematic Evaluation of EU support on social protection to Kosovo</a:t>
            </a:r>
            <a:endParaRPr lang="en-IE" sz="3400" dirty="0">
              <a:highlight>
                <a:srgbClr val="00FFFF"/>
              </a:highlight>
            </a:endParaRPr>
          </a:p>
        </p:txBody>
      </p:sp>
      <p:sp>
        <p:nvSpPr>
          <p:cNvPr id="15" name="Content Placeholder 20">
            <a:extLst>
              <a:ext uri="{FF2B5EF4-FFF2-40B4-BE49-F238E27FC236}">
                <a16:creationId xmlns:a16="http://schemas.microsoft.com/office/drawing/2014/main" id="{D88AAC15-0058-6439-AB7F-1D3FAF4D0A8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85845" y="1487870"/>
            <a:ext cx="3541071" cy="46037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 cap="rnd">
            <a:noFill/>
            <a:round/>
          </a:ln>
        </p:spPr>
        <p:txBody>
          <a:bodyPr vert="horz" lIns="72000" tIns="72000" rIns="72000" bIns="72000" rtlCol="0">
            <a:noAutofit/>
          </a:bodyPr>
          <a:lstStyle>
            <a:lvl1pPr marL="0" indent="0" defTabSz="91440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defTabSz="91440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BE" sz="1600" dirty="0"/>
              <a:t>Main </a:t>
            </a:r>
            <a:r>
              <a:rPr lang="fr-BE" sz="1600" dirty="0" err="1"/>
              <a:t>findings</a:t>
            </a:r>
            <a:endParaRPr lang="en-IE" sz="1600" dirty="0"/>
          </a:p>
        </p:txBody>
      </p:sp>
      <p:sp>
        <p:nvSpPr>
          <p:cNvPr id="17" name="Content Placeholder 21">
            <a:extLst>
              <a:ext uri="{FF2B5EF4-FFF2-40B4-BE49-F238E27FC236}">
                <a16:creationId xmlns:a16="http://schemas.microsoft.com/office/drawing/2014/main" id="{48353D5D-C017-32E7-B3F9-CA90F650E66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220515" y="1487870"/>
            <a:ext cx="3641538" cy="46037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 cap="rnd">
            <a:noFill/>
            <a:round/>
          </a:ln>
        </p:spPr>
        <p:txBody>
          <a:bodyPr vert="horz" lIns="72000" tIns="72000" rIns="72000" bIns="72000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defTabSz="91440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defTabSz="91440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BE" sz="1600"/>
              <a:t>Lessons learnt</a:t>
            </a:r>
            <a:endParaRPr lang="en-IE" sz="1600"/>
          </a:p>
        </p:txBody>
      </p:sp>
      <p:sp>
        <p:nvSpPr>
          <p:cNvPr id="18" name="Content Placeholder 18">
            <a:extLst>
              <a:ext uri="{FF2B5EF4-FFF2-40B4-BE49-F238E27FC236}">
                <a16:creationId xmlns:a16="http://schemas.microsoft.com/office/drawing/2014/main" id="{46EB06F5-0912-DE52-5C71-AD381E485B5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220515" y="2071097"/>
            <a:ext cx="3641538" cy="385065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solidFill>
              <a:schemeClr val="accent6"/>
            </a:solidFill>
          </a:ln>
        </p:spPr>
        <p:txBody>
          <a:bodyPr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50" dirty="0"/>
              <a:t>Strengthened CSO-government cooperation and capacity building improved service delivery for vulnerable groups. Where civil society organisations and government institutions developed collaborative working relationships, supported by targeted capacity-building initiatives, outcomes improved measurably,  particularly in expanding access to essential services for vulnerable groups and equipping stakeholders to respond to emerging challenges.</a:t>
            </a:r>
          </a:p>
          <a:p>
            <a:r>
              <a:rPr lang="en-GB" sz="1250" dirty="0"/>
              <a:t>A combined approach with support to the policy level and the grass root level, i.e. the most vulnerable can have a strong impact.</a:t>
            </a:r>
          </a:p>
        </p:txBody>
      </p:sp>
      <p:sp>
        <p:nvSpPr>
          <p:cNvPr id="19" name="Content Placeholder 22">
            <a:extLst>
              <a:ext uri="{FF2B5EF4-FFF2-40B4-BE49-F238E27FC236}">
                <a16:creationId xmlns:a16="http://schemas.microsoft.com/office/drawing/2014/main" id="{D6012A71-F568-FF62-EBD0-E8A4D43A75F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069709" y="1487870"/>
            <a:ext cx="3541071" cy="46037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 cap="rnd">
            <a:noFill/>
            <a:round/>
          </a:ln>
        </p:spPr>
        <p:txBody>
          <a:bodyPr vert="horz" lIns="72000" tIns="72000" rIns="72000" bIns="72000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defTabSz="91440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defTabSz="91440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BE" sz="1600" err="1"/>
              <a:t>Recommendations</a:t>
            </a:r>
            <a:endParaRPr lang="en-IE" sz="1600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7B3AA6CB-C3ED-67B9-7A98-5E8C9AA736F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069709" y="2071096"/>
            <a:ext cx="3541071" cy="3850655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50" dirty="0"/>
              <a:t>Increase national government funding for social protection services delivered by CSO Social Service Providers to ensure long-term sustainability and prevent service suspension.</a:t>
            </a:r>
          </a:p>
          <a:p>
            <a:r>
              <a:rPr lang="en-GB" sz="1250" dirty="0"/>
              <a:t>Develop a national strategy (and costed action plan) for social protection in Kosovo.</a:t>
            </a:r>
          </a:p>
          <a:p>
            <a:r>
              <a:rPr lang="en-GB" sz="1250" dirty="0"/>
              <a:t>Clarify roles and competencies in social protection at central as well as between central and local levels.</a:t>
            </a:r>
          </a:p>
          <a:p>
            <a:r>
              <a:rPr lang="en-GB" sz="1250" dirty="0"/>
              <a:t>Strengthen monitoring and evaluation mechanisms with gender-sensitive indicators and expand collaboration with diverse stakeholders to ensure services reach women.</a:t>
            </a:r>
            <a:endParaRPr lang="en-IE" sz="1250" dirty="0"/>
          </a:p>
        </p:txBody>
      </p:sp>
      <p:sp>
        <p:nvSpPr>
          <p:cNvPr id="2" name="Content Placeholder 18">
            <a:extLst>
              <a:ext uri="{FF2B5EF4-FFF2-40B4-BE49-F238E27FC236}">
                <a16:creationId xmlns:a16="http://schemas.microsoft.com/office/drawing/2014/main" id="{064B1789-EDDE-398B-F813-60CD363E2E58}"/>
              </a:ext>
            </a:extLst>
          </p:cNvPr>
          <p:cNvSpPr txBox="1"/>
          <p:nvPr/>
        </p:nvSpPr>
        <p:spPr>
          <a:xfrm>
            <a:off x="385378" y="2071095"/>
            <a:ext cx="3641538" cy="385065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solidFill>
              <a:schemeClr val="accent6"/>
            </a:solidFill>
          </a:ln>
        </p:spPr>
        <p:txBody>
          <a:bodyPr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200" b="1" dirty="0"/>
              <a:t>Effectiveness: </a:t>
            </a:r>
            <a:r>
              <a:rPr lang="en-GB" sz="1200" dirty="0"/>
              <a:t>The expansion of service providers, a key indicator of effectiveness, was significantly facilitated by EU funding. Sub-grants allocated to organizations such as Save the Children and Kosovo Women’s Network (</a:t>
            </a:r>
            <a:r>
              <a:rPr lang="en-GB" sz="1200" dirty="0" err="1"/>
              <a:t>KWN</a:t>
            </a:r>
            <a:r>
              <a:rPr lang="en-GB" sz="1200" dirty="0"/>
              <a:t>) allowed for the provision of specialized services, effectively increasing accessibility for vulnerable groups and fostering better coordination between local institutions and </a:t>
            </a:r>
            <a:r>
              <a:rPr lang="en-GB" sz="1200" dirty="0" err="1"/>
              <a:t>CSOs</a:t>
            </a:r>
            <a:r>
              <a:rPr lang="en-GB" sz="1200" dirty="0"/>
              <a:t>.</a:t>
            </a:r>
          </a:p>
          <a:p>
            <a:pPr marL="0" indent="0">
              <a:buNone/>
            </a:pPr>
            <a:r>
              <a:rPr lang="en-GB" sz="1200" b="1" dirty="0"/>
              <a:t>Impact: </a:t>
            </a:r>
            <a:r>
              <a:rPr lang="en-GB" sz="1200" dirty="0"/>
              <a:t>Tangible improvements in social services provision, particularly in response to COVID-19, have expanded access to essential services. Capacity-building initiatives have transformed Kosovo's social protection workforce, equipping stakeholders with the skills needed to address emerging challenges like COVID-19.</a:t>
            </a:r>
          </a:p>
          <a:p>
            <a:pPr marL="0" indent="0">
              <a:buNone/>
            </a:pPr>
            <a:r>
              <a:rPr lang="en-GB" sz="1200" b="1" dirty="0"/>
              <a:t>Sustainability: </a:t>
            </a:r>
            <a:r>
              <a:rPr lang="en-GB" sz="1200" dirty="0"/>
              <a:t>Cooperation and coordination between institutional bodies and </a:t>
            </a:r>
            <a:r>
              <a:rPr lang="en-GB" sz="1200" dirty="0" err="1"/>
              <a:t>CSOs</a:t>
            </a:r>
            <a:r>
              <a:rPr lang="en-GB" sz="1200" dirty="0"/>
              <a:t> in Kosovo's social protection sector have significantly improved with EU-funded support, fostering more sustainable partnerships and enhancing outcomes. </a:t>
            </a:r>
            <a:endParaRPr lang="en-IE" sz="1200" dirty="0"/>
          </a:p>
        </p:txBody>
      </p:sp>
    </p:spTree>
    <p:extLst>
      <p:ext uri="{BB962C8B-B14F-4D97-AF65-F5344CB8AC3E}">
        <p14:creationId xmlns:p14="http://schemas.microsoft.com/office/powerpoint/2010/main" val="39188075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lour palette new PPT">
  <a:themeElements>
    <a:clrScheme name="EC Colour Palette 2024">
      <a:dk1>
        <a:sysClr val="windowText" lastClr="000000"/>
      </a:dk1>
      <a:lt1>
        <a:sysClr val="window" lastClr="FFFFFF"/>
      </a:lt1>
      <a:dk2>
        <a:srgbClr val="003399"/>
      </a:dk2>
      <a:lt2>
        <a:srgbClr val="C6E5DF"/>
      </a:lt2>
      <a:accent1>
        <a:srgbClr val="44BA7E"/>
      </a:accent1>
      <a:accent2>
        <a:srgbClr val="000083"/>
      </a:accent2>
      <a:accent3>
        <a:srgbClr val="48038C"/>
      </a:accent3>
      <a:accent4>
        <a:srgbClr val="FF712C"/>
      </a:accent4>
      <a:accent5>
        <a:srgbClr val="FFD34E"/>
      </a:accent5>
      <a:accent6>
        <a:srgbClr val="DD0C86"/>
      </a:accent6>
      <a:hlink>
        <a:srgbClr val="003399"/>
      </a:hlink>
      <a:folHlink>
        <a:srgbClr val="003399"/>
      </a:folHlink>
    </a:clrScheme>
    <a:fontScheme name="EC revam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vamp_VI_EC_Corporate_PPT_Template_2024 2.pptx" id="{82638BCC-62B9-435A-B3D4-91B8F41A0F82}" vid="{331CF50E-8039-4F5B-9C47-F59CDFBC175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gs10 xmlns="541a8a8b-b856-4d35-a5c7-7f2c0ec3d499" xsi:nil="true"/>
    <Detailsofcontract xmlns="541a8a8b-b856-4d35-a5c7-7f2c0ec3d499" xsi:nil="true"/>
    <lcf76f155ced4ddcb4097134ff3c332f xmlns="541a8a8b-b856-4d35-a5c7-7f2c0ec3d499">
      <Terms xmlns="http://schemas.microsoft.com/office/infopath/2007/PartnerControls"/>
    </lcf76f155ced4ddcb4097134ff3c332f>
    <TaxCatchAll xmlns="e0757b53-df10-4b98-9811-094c4c3e23a8">
      <Value>45</Value>
    </TaxCatchAll>
    <hd784805b50e45ec95ead5c3b36fcf7f xmlns="541a8a8b-b856-4d35-a5c7-7f2c0ec3d499">
      <Terms xmlns="http://schemas.microsoft.com/office/infopath/2007/PartnerControls">
        <TermInfo xmlns="http://schemas.microsoft.com/office/infopath/2007/PartnerControls">
          <TermName xmlns="http://schemas.microsoft.com/office/infopath/2007/PartnerControls">mainstreaming</TermName>
          <TermId xmlns="http://schemas.microsoft.com/office/infopath/2007/PartnerControls">623ca3ea-03e6-464f-a754-a63c26a54d4e</TermId>
        </TermInfo>
      </Terms>
    </hd784805b50e45ec95ead5c3b36fcf7f>
    <Tags1 xmlns="541a8a8b-b856-4d35-a5c7-7f2c0ec3d499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87E4EC354ADFB40AC5D4FC129E379BA" ma:contentTypeVersion="32" ma:contentTypeDescription="Create a new document." ma:contentTypeScope="" ma:versionID="8e914beb79d8c10be8e4102a345a9582">
  <xsd:schema xmlns:xsd="http://www.w3.org/2001/XMLSchema" xmlns:xs="http://www.w3.org/2001/XMLSchema" xmlns:p="http://schemas.microsoft.com/office/2006/metadata/properties" xmlns:ns2="541a8a8b-b856-4d35-a5c7-7f2c0ec3d499" xmlns:ns3="e0757b53-df10-4b98-9811-094c4c3e23a8" targetNamespace="http://schemas.microsoft.com/office/2006/metadata/properties" ma:root="true" ma:fieldsID="2d360b25b78aab0ebbf1f0b136ae7772" ns2:_="" ns3:_="">
    <xsd:import namespace="541a8a8b-b856-4d35-a5c7-7f2c0ec3d499"/>
    <xsd:import namespace="e0757b53-df10-4b98-9811-094c4c3e23a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Location" minOccurs="0"/>
                <xsd:element ref="ns2:MediaServiceSearchProperties" minOccurs="0"/>
                <xsd:element ref="ns2:Tags1" minOccurs="0"/>
                <xsd:element ref="ns2:Tags10" minOccurs="0"/>
                <xsd:element ref="ns2:Detailsofcontract" minOccurs="0"/>
                <xsd:element ref="ns2:MediaServiceBillingMetadata" minOccurs="0"/>
                <xsd:element ref="ns2:hd784805b50e45ec95ead5c3b36fcf7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1a8a8b-b856-4d35-a5c7-7f2c0ec3d49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22b2fad6-9d2c-441c-a321-3f5f1e9bd92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Tags1" ma:index="25" nillable="true" ma:displayName="Tags" ma:format="Dropdown" ma:indexed="true" ma:internalName="Tags1">
      <xsd:simpleType>
        <xsd:restriction base="dms:Choice">
          <xsd:enumeration value="test 1"/>
          <xsd:enumeration value="test 2"/>
          <xsd:enumeration value="test 3"/>
        </xsd:restriction>
      </xsd:simpleType>
    </xsd:element>
    <xsd:element name="Tags10" ma:index="26" nillable="true" ma:displayName="Tags" ma:format="Dropdown" ma:internalName="Tags10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test 1"/>
                    <xsd:enumeration value="test 2"/>
                    <xsd:enumeration value="test 3"/>
                    <xsd:enumeration value="URGENT"/>
                  </xsd:restriction>
                </xsd:simpleType>
              </xsd:element>
            </xsd:sequence>
          </xsd:extension>
        </xsd:complexContent>
      </xsd:complexType>
    </xsd:element>
    <xsd:element name="Detailsofcontract" ma:index="27" nillable="true" ma:displayName="Details of contract" ma:format="Dropdown" ma:internalName="Detailsofcontract">
      <xsd:simpleType>
        <xsd:restriction base="dms:Text">
          <xsd:maxLength value="255"/>
        </xsd:restriction>
      </xsd:simpleType>
    </xsd:element>
    <xsd:element name="MediaServiceBillingMetadata" ma:index="28" nillable="true" ma:displayName="MediaServiceBillingMetadata" ma:hidden="true" ma:internalName="MediaServiceBillingMetadata" ma:readOnly="true">
      <xsd:simpleType>
        <xsd:restriction base="dms:Note"/>
      </xsd:simpleType>
    </xsd:element>
    <xsd:element name="hd784805b50e45ec95ead5c3b36fcf7f" ma:index="30" nillable="true" ma:taxonomy="true" ma:internalName="hd784805b50e45ec95ead5c3b36fcf7f" ma:taxonomyFieldName="Tag" ma:displayName="Tag" ma:default="45;#mainstreaming|623ca3ea-03e6-464f-a754-a63c26a54d4e" ma:fieldId="{1d784805-b50e-45ec-95ea-d5c3b36fcf7f}" ma:sspId="22b2fad6-9d2c-441c-a321-3f5f1e9bd928" ma:termSetId="5e40e955-c7f5-409e-a439-acd3f9e5de6f" ma:anchorId="00000000-0000-0000-0000-000000000000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757b53-df10-4b98-9811-094c4c3e23a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f677e050-44f1-4183-8226-54733150d4e5}" ma:internalName="TaxCatchAll" ma:showField="CatchAllData" ma:web="e0757b53-df10-4b98-9811-094c4c3e23a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37B6F83-6DDD-48D8-857B-BE72EE2D0B99}">
  <ds:schemaRefs>
    <ds:schemaRef ds:uri="541a8a8b-b856-4d35-a5c7-7f2c0ec3d499"/>
    <ds:schemaRef ds:uri="e0757b53-df10-4b98-9811-094c4c3e23a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6DEF30C-9A1A-43B9-8681-494063771A09}">
  <ds:schemaRefs>
    <ds:schemaRef ds:uri="541a8a8b-b856-4d35-a5c7-7f2c0ec3d499"/>
    <ds:schemaRef ds:uri="e0757b53-df10-4b98-9811-094c4c3e23a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BC578E49-555D-4D0C-B802-355039F0D82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79</TotalTime>
  <Words>687</Words>
  <Application>Microsoft Office PowerPoint</Application>
  <PresentationFormat>Widescreen</PresentationFormat>
  <Paragraphs>45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Calibri</vt:lpstr>
      <vt:lpstr>colour palette new PPT</vt:lpstr>
      <vt:lpstr>think-cell Slide</vt:lpstr>
      <vt:lpstr>PowerPoint Presentation</vt:lpstr>
      <vt:lpstr>PowerPoint Presentation</vt:lpstr>
      <vt:lpstr>PowerPoint Presentation</vt:lpstr>
    </vt:vector>
  </TitlesOfParts>
  <Company>European Commiss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UENO BARRIGA Maria Del Carmen (ENEST)</dc:creator>
  <cp:lastModifiedBy>TAHIRI Aferdita (EEAS-PRISTINA)</cp:lastModifiedBy>
  <cp:revision>7</cp:revision>
  <dcterms:created xsi:type="dcterms:W3CDTF">2026-05-05T16:42:07Z</dcterms:created>
  <dcterms:modified xsi:type="dcterms:W3CDTF">2026-06-16T13:56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87E4EC354ADFB40AC5D4FC129E379BA</vt:lpwstr>
  </property>
  <property fmtid="{D5CDD505-2E9C-101B-9397-08002B2CF9AE}" pid="3" name="MSIP_Label_6bd9ddd1-4d20-43f6-abfa-fc3c07406f94_Enabled">
    <vt:lpwstr>true</vt:lpwstr>
  </property>
  <property fmtid="{D5CDD505-2E9C-101B-9397-08002B2CF9AE}" pid="4" name="MSIP_Label_6bd9ddd1-4d20-43f6-abfa-fc3c07406f94_SetDate">
    <vt:lpwstr>2023-09-26T10:27:54Z</vt:lpwstr>
  </property>
  <property fmtid="{D5CDD505-2E9C-101B-9397-08002B2CF9AE}" pid="5" name="MSIP_Label_6bd9ddd1-4d20-43f6-abfa-fc3c07406f94_Method">
    <vt:lpwstr>Standard</vt:lpwstr>
  </property>
  <property fmtid="{D5CDD505-2E9C-101B-9397-08002B2CF9AE}" pid="6" name="MSIP_Label_6bd9ddd1-4d20-43f6-abfa-fc3c07406f94_Name">
    <vt:lpwstr>Commission Use</vt:lpwstr>
  </property>
  <property fmtid="{D5CDD505-2E9C-101B-9397-08002B2CF9AE}" pid="7" name="MSIP_Label_6bd9ddd1-4d20-43f6-abfa-fc3c07406f94_SiteId">
    <vt:lpwstr>b24c8b06-522c-46fe-9080-70926f8dddb1</vt:lpwstr>
  </property>
  <property fmtid="{D5CDD505-2E9C-101B-9397-08002B2CF9AE}" pid="8" name="MSIP_Label_6bd9ddd1-4d20-43f6-abfa-fc3c07406f94_ActionId">
    <vt:lpwstr>5f9041e0-26c3-439f-9557-91c751557f9e</vt:lpwstr>
  </property>
  <property fmtid="{D5CDD505-2E9C-101B-9397-08002B2CF9AE}" pid="9" name="MSIP_Label_6bd9ddd1-4d20-43f6-abfa-fc3c07406f94_ContentBits">
    <vt:lpwstr>0</vt:lpwstr>
  </property>
  <property fmtid="{D5CDD505-2E9C-101B-9397-08002B2CF9AE}" pid="10" name="Tag">
    <vt:lpwstr>45;#mainstreaming|623ca3ea-03e6-464f-a754-a63c26a54d4e</vt:lpwstr>
  </property>
  <property fmtid="{D5CDD505-2E9C-101B-9397-08002B2CF9AE}" pid="11" name="MediaServiceImageTags">
    <vt:lpwstr/>
  </property>
</Properties>
</file>